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rawings/drawing2.xml" ContentType="application/vnd.openxmlformats-officedocument.drawingml.chartshape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charts/chart7.xml" ContentType="application/vnd.openxmlformats-officedocument.drawingml.chart+xml"/>
  <Override PartName="/ppt/diagrams/layout1.xml" ContentType="application/vnd.openxmlformats-officedocument.drawingml.diagramLayout+xml"/>
  <Override PartName="/ppt/charts/chart3.xml" ContentType="application/vnd.openxmlformats-officedocument.drawingml.char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drawings/drawing7.xml" ContentType="application/vnd.openxmlformats-officedocument.drawingml.chartshapes+xml"/>
  <Override PartName="/ppt/charts/style5.xml" ContentType="application/vnd.ms-office.chartstyl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Layouts/slideLayout7.xml" ContentType="application/vnd.openxmlformats-officedocument.presentationml.slideLayout+xml"/>
  <Override PartName="/ppt/drawings/drawing3.xml" ContentType="application/vnd.openxmlformats-officedocument.drawingml.chartshapes+xml"/>
  <Override PartName="/ppt/diagrams/colors2.xml" ContentType="application/vnd.openxmlformats-officedocument.drawingml.diagramColors+xml"/>
  <Default Extension="png" ContentType="image/png"/>
  <Override PartName="/ppt/diagrams/drawing3.xml" ContentType="application/vnd.ms-office.drawingml.diagramDrawing+xml"/>
  <Override PartName="/ppt/charts/style1.xml" ContentType="application/vnd.ms-office.chart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diagrams/quickStyle3.xml" ContentType="application/vnd.openxmlformats-officedocument.drawingml.diagramStyle+xml"/>
  <Override PartName="/ppt/charts/chart18.xml" ContentType="application/vnd.openxmlformats-officedocument.drawingml.chart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charts/chart16.xml" ContentType="application/vnd.openxmlformats-officedocument.drawingml.chart+xml"/>
  <Override PartName="/ppt/charts/colors5.xml" ContentType="application/vnd.ms-office.chartcolor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Default Extension="wdp" ContentType="image/vnd.ms-photo"/>
  <Override PartName="/ppt/charts/colors1.xml" ContentType="application/vnd.ms-office.chartcolorstyle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drawings/drawing8.xml" ContentType="application/vnd.openxmlformats-officedocument.drawingml.chartshapes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diagrams/colors3.xml" ContentType="application/vnd.openxmlformats-officedocument.drawingml.diagramColors+xml"/>
  <Override PartName="/ppt/drawings/drawing6.xml" ContentType="application/vnd.openxmlformats-officedocument.drawingml.chartshapes+xml"/>
  <Override PartName="/docProps/core.xml" ContentType="application/vnd.openxmlformats-package.core-properties+xml"/>
  <Override PartName="/ppt/charts/style4.xml" ContentType="application/vnd.ms-office.chartstyle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drawings/drawing4.xml" ContentType="application/vnd.openxmlformats-officedocument.drawingml.chartshape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diagrams/layout3.xml" ContentType="application/vnd.openxmlformats-officedocument.drawingml.diagramLayout+xml"/>
  <Override PartName="/ppt/drawings/drawing9.xml" ContentType="application/vnd.openxmlformats-officedocument.drawingml.chartshape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737" r:id="rId2"/>
  </p:sldMasterIdLst>
  <p:notesMasterIdLst>
    <p:notesMasterId r:id="rId49"/>
  </p:notesMasterIdLst>
  <p:sldIdLst>
    <p:sldId id="326" r:id="rId3"/>
    <p:sldId id="395" r:id="rId4"/>
    <p:sldId id="397" r:id="rId5"/>
    <p:sldId id="382" r:id="rId6"/>
    <p:sldId id="346" r:id="rId7"/>
    <p:sldId id="393" r:id="rId8"/>
    <p:sldId id="385" r:id="rId9"/>
    <p:sldId id="363" r:id="rId10"/>
    <p:sldId id="347" r:id="rId11"/>
    <p:sldId id="351" r:id="rId12"/>
    <p:sldId id="356" r:id="rId13"/>
    <p:sldId id="415" r:id="rId14"/>
    <p:sldId id="369" r:id="rId15"/>
    <p:sldId id="388" r:id="rId16"/>
    <p:sldId id="384" r:id="rId17"/>
    <p:sldId id="416" r:id="rId18"/>
    <p:sldId id="417" r:id="rId19"/>
    <p:sldId id="419" r:id="rId20"/>
    <p:sldId id="359" r:id="rId21"/>
    <p:sldId id="379" r:id="rId22"/>
    <p:sldId id="366" r:id="rId23"/>
    <p:sldId id="380" r:id="rId24"/>
    <p:sldId id="418" r:id="rId25"/>
    <p:sldId id="328" r:id="rId26"/>
    <p:sldId id="362" r:id="rId27"/>
    <p:sldId id="364" r:id="rId28"/>
    <p:sldId id="398" r:id="rId29"/>
    <p:sldId id="352" r:id="rId30"/>
    <p:sldId id="391" r:id="rId31"/>
    <p:sldId id="406" r:id="rId32"/>
    <p:sldId id="402" r:id="rId33"/>
    <p:sldId id="411" r:id="rId34"/>
    <p:sldId id="401" r:id="rId35"/>
    <p:sldId id="409" r:id="rId36"/>
    <p:sldId id="404" r:id="rId37"/>
    <p:sldId id="413" r:id="rId38"/>
    <p:sldId id="399" r:id="rId39"/>
    <p:sldId id="407" r:id="rId40"/>
    <p:sldId id="400" r:id="rId41"/>
    <p:sldId id="408" r:id="rId42"/>
    <p:sldId id="403" r:id="rId43"/>
    <p:sldId id="412" r:id="rId44"/>
    <p:sldId id="405" r:id="rId45"/>
    <p:sldId id="414" r:id="rId46"/>
    <p:sldId id="343" r:id="rId47"/>
    <p:sldId id="396" r:id="rId48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7C2B"/>
    <a:srgbClr val="2ED8FA"/>
    <a:srgbClr val="ADDB7B"/>
    <a:srgbClr val="E47866"/>
    <a:srgbClr val="5B93D7"/>
    <a:srgbClr val="F2974C"/>
    <a:srgbClr val="A1D05C"/>
    <a:srgbClr val="8EB149"/>
    <a:srgbClr val="FF9900"/>
    <a:srgbClr val="FF66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995" autoAdjust="0"/>
    <p:restoredTop sz="96087" autoAdjust="0"/>
  </p:normalViewPr>
  <p:slideViewPr>
    <p:cSldViewPr>
      <p:cViewPr varScale="1">
        <p:scale>
          <a:sx n="108" d="100"/>
          <a:sy n="108" d="100"/>
        </p:scale>
        <p:origin x="-78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chartUserShapes" Target="../drawings/drawing9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57;&#1083;&#1072;&#1081;&#1076;.xlsx" TargetMode="External"/><Relationship Id="rId4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73;&#1097;&#1072;&#1103;%202\12%20&#1044;&#1045;&#1050;&#1040;&#1041;&#1056;&#1068;\&#1088;&#1072;&#1089;&#1095;&#1077;&#1090;&#1099;%20&#1082;%20&#1076;&#1080;&#1072;&#1075;&#1088;&#1072;&#1084;&#1084;&#1072;&#1084;%20&#1087;&#1086;%20&#1087;&#1091;&#1073;&#1083;&#1080;&#1095;&#1085;&#1099;&#1084;%20&#1089;&#1083;&#1091;&#1096;&#1072;&#1085;&#1080;&#1103;&#1084;%202012%20&#1075;&#1086;&#1076;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chartUserShapes" Target="../drawings/drawing1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Relationship Id="rId4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chartUserShapes" Target="../drawings/drawing2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Relationship Id="rId4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&#1054;&#1041;&#1065;&#1040;&#1071;%202015\12%20&#1044;&#1045;&#1050;&#1040;&#1041;&#1056;&#1068;\&#1055;&#1091;&#1073;&#1083;&#1080;&#1095;&#1085;&#1099;&#1077;%20&#1089;&#1083;&#1091;&#1096;&#1072;&#1085;&#1080;&#1103;%20&#1087;&#1088;&#1086;&#1077;&#1082;&#1090;%20&#1073;&#1102;&#1076;&#1078;&#1077;&#1090;&#1072;%20&#1085;&#1072;%202016%20&#1075;&#1086;&#1076;\&#1058;&#1072;&#1073;&#1083;&#1080;&#1094;&#1072;%20&#1082;%20&#1089;&#1083;&#1072;&#1081;&#1076;&#1091;%207%20&#1080;%20&#1076;&#1088;..xls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oleObject" Target="file:///c:\&#1054;&#1073;&#1097;&#1072;&#1103;%202\12%20&#1044;&#1045;&#1050;&#1040;&#1041;&#1056;&#1068;\&#1055;&#1091;&#1073;&#1083;&#1080;&#1095;&#1085;&#1099;&#1077;%20&#1089;&#1083;&#1091;&#1096;&#1072;&#1085;&#1080;&#1103;%20&#1073;&#1102;&#1076;&#1078;&#1077;&#1090;&#1072;%202012%20&#1075;&#1086;&#1076;&#1072;\&#1088;&#1072;&#1089;&#1095;&#1077;&#1090;&#1099;%20&#1082;%20&#1076;&#1080;&#1072;&#1075;&#1088;&#1072;&#1084;&#1084;&#1072;&#1084;%20&#1087;&#1086;%20&#1087;&#1091;&#1073;&#1083;&#1080;&#1095;&#1085;&#1099;&#1084;%20&#1089;&#1083;&#1091;&#1096;&#1072;&#1085;&#1080;&#1103;&#1084;%202012%20&#1075;&#1086;&#1076;.xlsx" TargetMode="External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58;&#1072;&#1073;&#1083;&#1080;&#1094;&#1072;%20&#1082;%20&#1089;&#1083;&#1072;&#1081;&#1076;&#1091;%2010.xls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58;&#1072;&#1073;&#1083;&#1080;&#1094;&#1072;%20&#1082;%20&#1089;&#1083;&#1072;&#1081;&#1076;&#1091;%2010.xls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1.xlsx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chartUserShapes" Target="../drawings/drawing8.xml"/><Relationship Id="rId1" Type="http://schemas.openxmlformats.org/officeDocument/2006/relationships/oleObject" Target="file:///C:\&#1054;&#1041;&#1065;&#1040;&#1071;%202017\11%20&#1053;&#1054;&#1071;&#1041;&#1056;&#1068;\&#1055;&#1091;&#1073;&#1083;&#1080;&#1095;&#1085;&#1099;&#1077;%20&#1089;&#1083;&#1091;&#1096;&#1072;&#1085;&#1080;&#1103;\&#1076;&#1080;&#1072;&#1075;&#1088;&#1072;&#1084;&#1084;&#1099;.xlsx" TargetMode="External"/><Relationship Id="rId4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Лист4!$B$5</c:f>
              <c:strCache>
                <c:ptCount val="1"/>
                <c:pt idx="0">
                  <c:v>Доход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4!$C$4:$F$4</c:f>
              <c:strCache>
                <c:ptCount val="4"/>
                <c:pt idx="0">
                  <c:v>2017 год (первоначальный)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4!$C$5:$F$5</c:f>
              <c:numCache>
                <c:formatCode>#\ ##0.0</c:formatCode>
                <c:ptCount val="4"/>
                <c:pt idx="0">
                  <c:v>2965.4</c:v>
                </c:pt>
                <c:pt idx="1">
                  <c:v>3025.3500000000022</c:v>
                </c:pt>
                <c:pt idx="2">
                  <c:v>2836.4300000000012</c:v>
                </c:pt>
                <c:pt idx="3">
                  <c:v>2824.34</c:v>
                </c:pt>
              </c:numCache>
            </c:numRef>
          </c:val>
        </c:ser>
        <c:ser>
          <c:idx val="1"/>
          <c:order val="1"/>
          <c:tx>
            <c:strRef>
              <c:f>Лист4!$B$6</c:f>
              <c:strCache>
                <c:ptCount val="1"/>
                <c:pt idx="0">
                  <c:v>Расходы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2.5462668816040146E-17"/>
                  <c:y val="-4.6115244537885312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6.9444444444444588E-3"/>
                  <c:y val="-3.2280671176519816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-4.8421006764779492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3888888888888924E-3"/>
                  <c:y val="-5.7644055672356607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4!$C$4:$F$4</c:f>
              <c:strCache>
                <c:ptCount val="4"/>
                <c:pt idx="0">
                  <c:v>2017 год (первоначальный)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4!$C$6:$F$6</c:f>
              <c:numCache>
                <c:formatCode>#\ ##0.0</c:formatCode>
                <c:ptCount val="4"/>
                <c:pt idx="0">
                  <c:v>3014.2</c:v>
                </c:pt>
                <c:pt idx="1">
                  <c:v>3098.3900000000012</c:v>
                </c:pt>
                <c:pt idx="2">
                  <c:v>2851.4300000000012</c:v>
                </c:pt>
                <c:pt idx="3">
                  <c:v>2809.34</c:v>
                </c:pt>
              </c:numCache>
            </c:numRef>
          </c:val>
        </c:ser>
        <c:ser>
          <c:idx val="2"/>
          <c:order val="2"/>
          <c:tx>
            <c:strRef>
              <c:f>Лист4!$B$7</c:f>
              <c:strCache>
                <c:ptCount val="1"/>
                <c:pt idx="0">
                  <c:v>Дефицит (-)/Профицит (+)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2.1519259737465051E-3"/>
                  <c:y val="7.7294685990338466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7.89030408760444E-17"/>
                  <c:y val="8.051529790660254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7.0853462157810118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2.7777777777777879E-3"/>
                  <c:y val="-6.9172866806828954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4!$C$4:$F$4</c:f>
              <c:strCache>
                <c:ptCount val="4"/>
                <c:pt idx="0">
                  <c:v>2017 год (первоначальный)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Лист4!$C$7:$F$7</c:f>
              <c:numCache>
                <c:formatCode>#\ ##0.0</c:formatCode>
                <c:ptCount val="4"/>
                <c:pt idx="0">
                  <c:v>-48.799999999999798</c:v>
                </c:pt>
                <c:pt idx="1">
                  <c:v>-73.040000000000006</c:v>
                </c:pt>
                <c:pt idx="2">
                  <c:v>-15</c:v>
                </c:pt>
                <c:pt idx="3">
                  <c:v>15</c:v>
                </c:pt>
              </c:numCache>
            </c:numRef>
          </c:val>
        </c:ser>
        <c:dLbls>
          <c:showVal val="1"/>
        </c:dLbls>
        <c:gapWidth val="75"/>
        <c:axId val="66716032"/>
        <c:axId val="66717568"/>
      </c:barChart>
      <c:catAx>
        <c:axId val="6671603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66717568"/>
        <c:crosses val="autoZero"/>
        <c:auto val="1"/>
        <c:lblAlgn val="ctr"/>
        <c:lblOffset val="100"/>
      </c:catAx>
      <c:valAx>
        <c:axId val="66717568"/>
        <c:scaling>
          <c:orientation val="minMax"/>
        </c:scaling>
        <c:axPos val="l"/>
        <c:numFmt formatCode="#\ ##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66716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depthPercent val="100"/>
      <c:rAngAx val="1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5741983727630028E-2"/>
          <c:y val="0.12169908338298525"/>
          <c:w val="0.9042580162723709"/>
          <c:h val="0.76189725349783899"/>
        </c:manualLayout>
      </c:layout>
      <c:bar3DChart>
        <c:barDir val="col"/>
        <c:grouping val="clustered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dLbls>
            <c:dLbl>
              <c:idx val="0"/>
              <c:layout>
                <c:manualLayout>
                  <c:x val="-6.070647419072632E-4"/>
                  <c:y val="0.26240673711412882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4.9484908136482979E-3"/>
                  <c:y val="0.22904541503117962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3888888888888913E-3"/>
                  <c:y val="0.17184842260663072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3888888888888913E-3"/>
                  <c:y val="0.13835855227814686"/>
                </c:manualLayout>
              </c:layout>
              <c:showVal val="1"/>
              <c:separator>; </c:separator>
              <c:extLst>
                <c:ext xmlns:c15="http://schemas.microsoft.com/office/drawing/2012/chart" uri="{CE6537A1-D6FC-4f65-9D91-7224C49458BB}"/>
              </c:extLst>
            </c:dLbl>
            <c:numFmt formatCode="#,##0.0" sourceLinked="0"/>
            <c:spPr>
              <a:solidFill>
                <a:schemeClr val="bg1">
                  <a:alpha val="58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separator>; </c:separator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4:$A$7</c:f>
              <c:strCache>
                <c:ptCount val="4"/>
                <c:pt idx="0">
                  <c:v>2017 год 
(первоначальный)</c:v>
                </c:pt>
                <c:pt idx="1">
                  <c:v>2018 год 
(проект)</c:v>
                </c:pt>
                <c:pt idx="2">
                  <c:v>2019 год 
(проект)</c:v>
                </c:pt>
                <c:pt idx="3">
                  <c:v>2020 год 
(проект)</c:v>
                </c:pt>
              </c:strCache>
            </c:strRef>
          </c:cat>
          <c:val>
            <c:numRef>
              <c:f>Лист1!$B$4:$B$7</c:f>
              <c:numCache>
                <c:formatCode>#,##0.00</c:formatCode>
                <c:ptCount val="4"/>
                <c:pt idx="0">
                  <c:v>3014.2599999999998</c:v>
                </c:pt>
                <c:pt idx="1">
                  <c:v>3098.3900000000012</c:v>
                </c:pt>
                <c:pt idx="2">
                  <c:v>2851.4300000000012</c:v>
                </c:pt>
                <c:pt idx="3">
                  <c:v>2809.34</c:v>
                </c:pt>
              </c:numCache>
            </c:numRef>
          </c:val>
        </c:ser>
        <c:gapWidth val="59"/>
        <c:gapDepth val="90"/>
        <c:shape val="box"/>
        <c:axId val="69554176"/>
        <c:axId val="72250112"/>
        <c:axId val="0"/>
      </c:bar3DChart>
      <c:catAx>
        <c:axId val="69554176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72250112"/>
        <c:crosses val="autoZero"/>
        <c:auto val="1"/>
        <c:lblAlgn val="ctr"/>
        <c:lblOffset val="100"/>
      </c:catAx>
      <c:valAx>
        <c:axId val="72250112"/>
        <c:scaling>
          <c:orientation val="minMax"/>
          <c:min val="20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95541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0.19951650724173103"/>
          <c:y val="7.9969702489956773E-2"/>
          <c:w val="0.75654235723479335"/>
          <c:h val="0.61875550101151577"/>
        </c:manualLayout>
      </c:layout>
      <c:pie3DChart>
        <c:varyColors val="1"/>
        <c:ser>
          <c:idx val="0"/>
          <c:order val="0"/>
          <c:tx>
            <c:strRef>
              <c:f>Лист4!$C$5</c:f>
              <c:strCache>
                <c:ptCount val="1"/>
                <c:pt idx="0">
                  <c:v>2011 год</c:v>
                </c:pt>
              </c:strCache>
            </c:strRef>
          </c:tx>
          <c:explosion val="30"/>
          <c:dLbls>
            <c:dLbl>
              <c:idx val="0"/>
              <c:layout>
                <c:manualLayout>
                  <c:x val="-8.6305154482198295E-5"/>
                  <c:y val="1.6012425814245619E-2"/>
                </c:manualLayout>
              </c:layout>
              <c:tx>
                <c:rich>
                  <a:bodyPr/>
                  <a:lstStyle/>
                  <a:p>
                    <a:r>
                      <a:rPr lang="en-US" sz="20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85,2%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1403577605454048E-2"/>
                  <c:y val="-1.9217633917870739E-2"/>
                </c:manualLayout>
              </c:layout>
              <c:tx>
                <c:rich>
                  <a:bodyPr/>
                  <a:lstStyle/>
                  <a:p>
                    <a:r>
                      <a:rPr lang="en-US" sz="2000" dirty="0" smtClean="0">
                        <a:latin typeface="Times New Roman" pitchFamily="18" charset="0"/>
                        <a:cs typeface="Times New Roman" pitchFamily="18" charset="0"/>
                      </a:rPr>
                      <a:t>14,8%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4!$A$6:$B$7</c:f>
              <c:strCache>
                <c:ptCount val="2"/>
                <c:pt idx="0">
                  <c:v>Расходы социально культурной сферы</c:v>
                </c:pt>
                <c:pt idx="1">
                  <c:v>Прочие расходы</c:v>
                </c:pt>
              </c:strCache>
            </c:strRef>
          </c:cat>
          <c:val>
            <c:numRef>
              <c:f>Лист4!$C$6:$C$7</c:f>
              <c:numCache>
                <c:formatCode>0.0%</c:formatCode>
                <c:ptCount val="2"/>
                <c:pt idx="0">
                  <c:v>0.8295881001780655</c:v>
                </c:pt>
                <c:pt idx="1">
                  <c:v>0.17041189982193544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>
        <c:manualLayout>
          <c:xMode val="edge"/>
          <c:yMode val="edge"/>
          <c:x val="0.19416586277797751"/>
          <c:y val="0.82502651032128782"/>
          <c:w val="0.77172095297809484"/>
          <c:h val="0.11165552881619192"/>
        </c:manualLayout>
      </c:layout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/>
        <a:lstStyle/>
        <a:p>
          <a:pPr>
            <a:defRPr sz="2400"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4460181539807518"/>
          <c:y val="9.2966239772688863E-2"/>
          <c:w val="0.8401204068241479"/>
          <c:h val="0.80580486679703167"/>
        </c:manualLayout>
      </c:layout>
      <c:barChart>
        <c:barDir val="col"/>
        <c:grouping val="clustered"/>
        <c:ser>
          <c:idx val="0"/>
          <c:order val="0"/>
          <c:tx>
            <c:strRef>
              <c:f>образование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образование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образование!$B$3:$D$3</c:f>
              <c:numCache>
                <c:formatCode>#,##0.00</c:formatCode>
                <c:ptCount val="3"/>
                <c:pt idx="0">
                  <c:v>668028.81999999972</c:v>
                </c:pt>
                <c:pt idx="1">
                  <c:v>676435.33000000019</c:v>
                </c:pt>
                <c:pt idx="2">
                  <c:v>654080.89</c:v>
                </c:pt>
              </c:numCache>
            </c:numRef>
          </c:val>
        </c:ser>
        <c:ser>
          <c:idx val="1"/>
          <c:order val="1"/>
          <c:tx>
            <c:strRef>
              <c:f>образование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2470826991375011E-2"/>
                  <c:y val="-3.185982080230555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образование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образование!$B$4:$D$4</c:f>
              <c:numCache>
                <c:formatCode>#,##0.00</c:formatCode>
                <c:ptCount val="3"/>
                <c:pt idx="0">
                  <c:v>787649.58</c:v>
                </c:pt>
                <c:pt idx="1">
                  <c:v>804559.35000000021</c:v>
                </c:pt>
                <c:pt idx="2">
                  <c:v>813887.83000000019</c:v>
                </c:pt>
              </c:numCache>
            </c:numRef>
          </c:val>
        </c:ser>
        <c:dLbls>
          <c:showVal val="1"/>
        </c:dLbls>
        <c:axId val="69203456"/>
        <c:axId val="69204992"/>
      </c:barChart>
      <c:lineChart>
        <c:grouping val="standard"/>
        <c:ser>
          <c:idx val="2"/>
          <c:order val="2"/>
          <c:tx>
            <c:strRef>
              <c:f>образование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61241794874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4599657768053223E-2"/>
                  <c:y val="-5.0975713283688877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6.258091846280156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образование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образование!$B$5:$D$5</c:f>
              <c:numCache>
                <c:formatCode>#,##0.00</c:formatCode>
                <c:ptCount val="3"/>
                <c:pt idx="0">
                  <c:v>1455678.4</c:v>
                </c:pt>
                <c:pt idx="1">
                  <c:v>1480994.6800000004</c:v>
                </c:pt>
                <c:pt idx="2">
                  <c:v>1467968.72</c:v>
                </c:pt>
              </c:numCache>
            </c:numRef>
          </c:val>
        </c:ser>
        <c:marker val="1"/>
        <c:axId val="69203456"/>
        <c:axId val="69204992"/>
      </c:lineChart>
      <c:catAx>
        <c:axId val="69203456"/>
        <c:scaling>
          <c:orientation val="minMax"/>
        </c:scaling>
        <c:axPos val="b"/>
        <c:numFmt formatCode="General" sourceLinked="0"/>
        <c:tickLblPos val="nextTo"/>
        <c:crossAx val="69204992"/>
        <c:crosses val="autoZero"/>
        <c:auto val="1"/>
        <c:lblAlgn val="ctr"/>
        <c:lblOffset val="100"/>
      </c:catAx>
      <c:valAx>
        <c:axId val="69204992"/>
        <c:scaling>
          <c:orientation val="minMax"/>
          <c:max val="1500000"/>
        </c:scaling>
        <c:axPos val="l"/>
        <c:majorGridlines/>
        <c:numFmt formatCode="#,##0.00" sourceLinked="1"/>
        <c:tickLblPos val="nextTo"/>
        <c:crossAx val="6920345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/>
        <a:lstStyle/>
        <a:p>
          <a:pPr>
            <a:defRPr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col"/>
        <c:grouping val="clustered"/>
        <c:ser>
          <c:idx val="0"/>
          <c:order val="0"/>
          <c:tx>
            <c:strRef>
              <c:f>Культура!$A$4</c:f>
              <c:strCache>
                <c:ptCount val="1"/>
                <c:pt idx="0">
                  <c:v>собственные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0"/>
                  <c:y val="7.000542955496942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Культура!$B$3:$D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Культура!$B$4:$D$4</c:f>
              <c:numCache>
                <c:formatCode>#,##0.00</c:formatCode>
                <c:ptCount val="3"/>
                <c:pt idx="0">
                  <c:v>133277.06</c:v>
                </c:pt>
                <c:pt idx="1">
                  <c:v>116439.58</c:v>
                </c:pt>
                <c:pt idx="2">
                  <c:v>119229.40999999999</c:v>
                </c:pt>
              </c:numCache>
            </c:numRef>
          </c:val>
        </c:ser>
        <c:ser>
          <c:idx val="1"/>
          <c:order val="1"/>
          <c:tx>
            <c:strRef>
              <c:f>Культура!$A$5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247082699137499E-2"/>
                  <c:y val="-3.185982080230555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Культура!$B$3:$D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Культура!$B$5:$D$5</c:f>
              <c:numCache>
                <c:formatCode>General</c:formatCode>
                <c:ptCount val="3"/>
                <c:pt idx="0" formatCode="#,##0.00">
                  <c:v>7499.34</c:v>
                </c:pt>
              </c:numCache>
            </c:numRef>
          </c:val>
        </c:ser>
        <c:dLbls>
          <c:showVal val="1"/>
        </c:dLbls>
        <c:axId val="77297152"/>
        <c:axId val="77298688"/>
      </c:barChart>
      <c:lineChart>
        <c:grouping val="standard"/>
        <c:ser>
          <c:idx val="2"/>
          <c:order val="2"/>
          <c:tx>
            <c:strRef>
              <c:f>Культура!$A$6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61241794874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Культура!$B$3:$D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Культура!$B$6:$D$6</c:f>
              <c:numCache>
                <c:formatCode>#,##0.00</c:formatCode>
                <c:ptCount val="3"/>
                <c:pt idx="0">
                  <c:v>140776.4</c:v>
                </c:pt>
                <c:pt idx="1">
                  <c:v>116439.58</c:v>
                </c:pt>
                <c:pt idx="2">
                  <c:v>119229.40999999999</c:v>
                </c:pt>
              </c:numCache>
            </c:numRef>
          </c:val>
        </c:ser>
        <c:marker val="1"/>
        <c:axId val="77297152"/>
        <c:axId val="77298688"/>
      </c:lineChart>
      <c:catAx>
        <c:axId val="77297152"/>
        <c:scaling>
          <c:orientation val="minMax"/>
        </c:scaling>
        <c:axPos val="b"/>
        <c:numFmt formatCode="General" sourceLinked="0"/>
        <c:tickLblPos val="nextTo"/>
        <c:crossAx val="77298688"/>
        <c:crosses val="autoZero"/>
        <c:auto val="1"/>
        <c:lblAlgn val="ctr"/>
        <c:lblOffset val="100"/>
      </c:catAx>
      <c:valAx>
        <c:axId val="77298688"/>
        <c:scaling>
          <c:orientation val="minMax"/>
        </c:scaling>
        <c:axPos val="l"/>
        <c:majorGridlines/>
        <c:numFmt formatCode="#,##0.00" sourceLinked="1"/>
        <c:tickLblPos val="nextTo"/>
        <c:crossAx val="7729715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/>
        <a:lstStyle/>
        <a:p>
          <a:pPr>
            <a:defRPr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/>
      <c:barChart>
        <c:barDir val="col"/>
        <c:grouping val="clustered"/>
        <c:ser>
          <c:idx val="0"/>
          <c:order val="0"/>
          <c:tx>
            <c:strRef>
              <c:f>'развитие ЖКХ'!$B$4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0"/>
                  <c:y val="8.531911727011869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5277779448576076E-2"/>
                  <c:y val="6.344242053419113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1666671223389339E-3"/>
                  <c:y val="7.4380768902155003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развитие ЖКХ'!$C$3:$E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ЖКХ'!$C$4:$E$4</c:f>
              <c:numCache>
                <c:formatCode>#,##0.00</c:formatCode>
                <c:ptCount val="3"/>
                <c:pt idx="0">
                  <c:v>139179.34</c:v>
                </c:pt>
                <c:pt idx="1">
                  <c:v>120147.69</c:v>
                </c:pt>
                <c:pt idx="2">
                  <c:v>112564.86</c:v>
                </c:pt>
              </c:numCache>
            </c:numRef>
          </c:val>
        </c:ser>
        <c:ser>
          <c:idx val="1"/>
          <c:order val="1"/>
          <c:tx>
            <c:strRef>
              <c:f>'развитие ЖКХ'!$B$5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2470826991375011E-2"/>
                  <c:y val="-3.185982080230555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развитие ЖКХ'!$C$3:$E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ЖКХ'!$C$5:$E$5</c:f>
              <c:numCache>
                <c:formatCode>#,##0.00</c:formatCode>
                <c:ptCount val="3"/>
                <c:pt idx="0">
                  <c:v>150889.20000000001</c:v>
                </c:pt>
                <c:pt idx="1">
                  <c:v>889.2</c:v>
                </c:pt>
                <c:pt idx="2">
                  <c:v>889.2</c:v>
                </c:pt>
              </c:numCache>
            </c:numRef>
          </c:val>
        </c:ser>
        <c:dLbls>
          <c:showVal val="1"/>
        </c:dLbls>
        <c:axId val="77252864"/>
        <c:axId val="77336576"/>
      </c:barChart>
      <c:lineChart>
        <c:grouping val="standard"/>
        <c:ser>
          <c:idx val="2"/>
          <c:order val="2"/>
          <c:tx>
            <c:strRef>
              <c:f>'развитие ЖКХ'!$B$6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11472650007E-2"/>
                  <c:y val="-5.634937532556654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23774105837064E-2"/>
                  <c:y val="-6.191398013940458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6.258091846280156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развитие ЖКХ'!$C$3:$E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ЖКХ'!$C$6:$E$6</c:f>
              <c:numCache>
                <c:formatCode>#,##0.00</c:formatCode>
                <c:ptCount val="3"/>
                <c:pt idx="0">
                  <c:v>290068.54000000004</c:v>
                </c:pt>
                <c:pt idx="1">
                  <c:v>121036.89</c:v>
                </c:pt>
                <c:pt idx="2">
                  <c:v>113454.06</c:v>
                </c:pt>
              </c:numCache>
            </c:numRef>
          </c:val>
        </c:ser>
        <c:marker val="1"/>
        <c:axId val="77252864"/>
        <c:axId val="77336576"/>
      </c:lineChart>
      <c:catAx>
        <c:axId val="77252864"/>
        <c:scaling>
          <c:orientation val="minMax"/>
        </c:scaling>
        <c:axPos val="b"/>
        <c:numFmt formatCode="General" sourceLinked="0"/>
        <c:tickLblPos val="nextTo"/>
        <c:crossAx val="77336576"/>
        <c:crosses val="autoZero"/>
        <c:auto val="1"/>
        <c:lblAlgn val="ctr"/>
        <c:lblOffset val="100"/>
      </c:catAx>
      <c:valAx>
        <c:axId val="77336576"/>
        <c:scaling>
          <c:orientation val="minMax"/>
        </c:scaling>
        <c:axPos val="l"/>
        <c:majorGridlines/>
        <c:numFmt formatCode="#,##0.00" sourceLinked="1"/>
        <c:tickLblPos val="nextTo"/>
        <c:crossAx val="7725286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1682403762029746"/>
          <c:y val="5.8760807432702483E-2"/>
          <c:w val="0.8678981846019248"/>
          <c:h val="0.80133926725813065"/>
        </c:manualLayout>
      </c:layout>
      <c:barChart>
        <c:barDir val="col"/>
        <c:grouping val="clustered"/>
        <c:ser>
          <c:idx val="0"/>
          <c:order val="0"/>
          <c:tx>
            <c:strRef>
              <c:f>УПРСХ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УПРСХ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ПРСХ!$B$3:$D$3</c:f>
              <c:numCache>
                <c:formatCode>#,##0.00</c:formatCode>
                <c:ptCount val="3"/>
                <c:pt idx="0">
                  <c:v>10526.630000000003</c:v>
                </c:pt>
                <c:pt idx="1">
                  <c:v>8888.2099999999955</c:v>
                </c:pt>
                <c:pt idx="2">
                  <c:v>7541.13</c:v>
                </c:pt>
              </c:numCache>
            </c:numRef>
          </c:val>
        </c:ser>
        <c:ser>
          <c:idx val="1"/>
          <c:order val="1"/>
          <c:tx>
            <c:strRef>
              <c:f>УПРСХ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7.4864549745630893E-2"/>
                  <c:y val="3.8231784962766656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УПРСХ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ПРСХ!$B$4:$D$4</c:f>
              <c:numCache>
                <c:formatCode>#,##0.00</c:formatCode>
                <c:ptCount val="3"/>
                <c:pt idx="0">
                  <c:v>31943.02</c:v>
                </c:pt>
                <c:pt idx="1">
                  <c:v>22525.05</c:v>
                </c:pt>
                <c:pt idx="2">
                  <c:v>22509.39</c:v>
                </c:pt>
              </c:numCache>
            </c:numRef>
          </c:val>
        </c:ser>
        <c:dLbls>
          <c:showVal val="1"/>
        </c:dLbls>
        <c:axId val="77388416"/>
        <c:axId val="77406592"/>
      </c:barChart>
      <c:lineChart>
        <c:grouping val="standard"/>
        <c:ser>
          <c:idx val="2"/>
          <c:order val="2"/>
          <c:tx>
            <c:strRef>
              <c:f>УПРСХ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61241794874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4599657768053223E-2"/>
                  <c:y val="-5.0975713283688877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6.258091846280156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УПРСХ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ПРСХ!$B$5:$D$5</c:f>
              <c:numCache>
                <c:formatCode>#,##0.00</c:formatCode>
                <c:ptCount val="3"/>
                <c:pt idx="0">
                  <c:v>42469.65</c:v>
                </c:pt>
                <c:pt idx="1">
                  <c:v>31413.260000000006</c:v>
                </c:pt>
                <c:pt idx="2">
                  <c:v>30050.52</c:v>
                </c:pt>
              </c:numCache>
            </c:numRef>
          </c:val>
        </c:ser>
        <c:marker val="1"/>
        <c:axId val="77388416"/>
        <c:axId val="77406592"/>
      </c:lineChart>
      <c:catAx>
        <c:axId val="77388416"/>
        <c:scaling>
          <c:orientation val="minMax"/>
        </c:scaling>
        <c:axPos val="b"/>
        <c:numFmt formatCode="General" sourceLinked="0"/>
        <c:tickLblPos val="nextTo"/>
        <c:crossAx val="77406592"/>
        <c:crosses val="autoZero"/>
        <c:auto val="1"/>
        <c:lblAlgn val="ctr"/>
        <c:lblOffset val="100"/>
      </c:catAx>
      <c:valAx>
        <c:axId val="77406592"/>
        <c:scaling>
          <c:orientation val="minMax"/>
        </c:scaling>
        <c:axPos val="l"/>
        <c:majorGridlines/>
        <c:numFmt formatCode="#,##0.00" sourceLinked="1"/>
        <c:tickLblPos val="nextTo"/>
        <c:crossAx val="7738841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2397943407758971"/>
          <c:y val="8.9436667597025718E-2"/>
          <c:w val="0.85369687236584191"/>
          <c:h val="0.74446346909418815"/>
        </c:manualLayout>
      </c:layout>
      <c:barChart>
        <c:barDir val="col"/>
        <c:grouping val="clustered"/>
        <c:ser>
          <c:idx val="0"/>
          <c:order val="0"/>
          <c:tx>
            <c:strRef>
              <c:f>УТСЗН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УТСЗН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ТСЗН!$B$3:$D$3</c:f>
              <c:numCache>
                <c:formatCode>#,##0.00</c:formatCode>
                <c:ptCount val="3"/>
                <c:pt idx="0">
                  <c:v>2033.1699999999998</c:v>
                </c:pt>
                <c:pt idx="1">
                  <c:v>670</c:v>
                </c:pt>
                <c:pt idx="2">
                  <c:v>670</c:v>
                </c:pt>
              </c:numCache>
            </c:numRef>
          </c:val>
        </c:ser>
        <c:ser>
          <c:idx val="1"/>
          <c:order val="1"/>
          <c:tx>
            <c:strRef>
              <c:f>УТСЗН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1.3888890407796923E-3"/>
                  <c:y val="8.587536051413086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2.7777780815592852E-3"/>
                  <c:y val="7.7255583943434139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1.2290683758823679E-2"/>
                  <c:y val="8.0861977657069706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УТСЗН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ТСЗН!$B$4:$D$4</c:f>
              <c:numCache>
                <c:formatCode>#,##0.00</c:formatCode>
                <c:ptCount val="3"/>
                <c:pt idx="0">
                  <c:v>820147.06</c:v>
                </c:pt>
                <c:pt idx="1">
                  <c:v>841929.71</c:v>
                </c:pt>
                <c:pt idx="2">
                  <c:v>847462.04</c:v>
                </c:pt>
              </c:numCache>
            </c:numRef>
          </c:val>
        </c:ser>
        <c:dLbls>
          <c:showVal val="1"/>
        </c:dLbls>
        <c:axId val="77458432"/>
        <c:axId val="77468416"/>
      </c:barChart>
      <c:lineChart>
        <c:grouping val="standard"/>
        <c:ser>
          <c:idx val="2"/>
          <c:order val="2"/>
          <c:tx>
            <c:strRef>
              <c:f>УТСЗН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5894800513429634E-2"/>
                  <c:y val="-4.694931690176126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8080168206492547E-2"/>
                  <c:y val="-5.556909347245781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1469821901774293E-2"/>
                  <c:y val="-6.2409916196119714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УТСЗН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УТСЗН!$B$5:$D$5</c:f>
              <c:numCache>
                <c:formatCode>#,##0.00</c:formatCode>
                <c:ptCount val="3"/>
                <c:pt idx="0">
                  <c:v>822180.2300000001</c:v>
                </c:pt>
                <c:pt idx="1">
                  <c:v>842599.71</c:v>
                </c:pt>
                <c:pt idx="2">
                  <c:v>848132.04</c:v>
                </c:pt>
              </c:numCache>
            </c:numRef>
          </c:val>
        </c:ser>
        <c:marker val="1"/>
        <c:axId val="77458432"/>
        <c:axId val="77468416"/>
      </c:lineChart>
      <c:catAx>
        <c:axId val="77458432"/>
        <c:scaling>
          <c:orientation val="minMax"/>
        </c:scaling>
        <c:axPos val="b"/>
        <c:numFmt formatCode="General" sourceLinked="0"/>
        <c:tickLblPos val="nextTo"/>
        <c:crossAx val="77468416"/>
        <c:crosses val="autoZero"/>
        <c:auto val="1"/>
        <c:lblAlgn val="ctr"/>
        <c:lblOffset val="100"/>
      </c:catAx>
      <c:valAx>
        <c:axId val="77468416"/>
        <c:scaling>
          <c:orientation val="minMax"/>
        </c:scaling>
        <c:axPos val="l"/>
        <c:majorGridlines/>
        <c:numFmt formatCode="#,##0.00" sourceLinked="1"/>
        <c:tickLblPos val="nextTo"/>
        <c:crossAx val="7745843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plotArea>
      <c:layout>
        <c:manualLayout>
          <c:layoutTarget val="inner"/>
          <c:xMode val="edge"/>
          <c:yMode val="edge"/>
          <c:x val="0.12793514873140893"/>
          <c:y val="5.8760807432702483E-2"/>
          <c:w val="0.85678707349081473"/>
          <c:h val="0.80133926725813065"/>
        </c:manualLayout>
      </c:layout>
      <c:barChart>
        <c:barDir val="col"/>
        <c:grouping val="clustered"/>
        <c:ser>
          <c:idx val="0"/>
          <c:order val="0"/>
          <c:tx>
            <c:strRef>
              <c:f>'Развитие мун образов'!$A$3</c:f>
              <c:strCache>
                <c:ptCount val="1"/>
                <c:pt idx="0">
                  <c:v>собственные средства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Развитие мун образов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мун образов'!$B$3:$D$3</c:f>
              <c:numCache>
                <c:formatCode>#,##0.00</c:formatCode>
                <c:ptCount val="3"/>
                <c:pt idx="0">
                  <c:v>216766.63</c:v>
                </c:pt>
                <c:pt idx="1">
                  <c:v>172704.24000000005</c:v>
                </c:pt>
                <c:pt idx="2">
                  <c:v>153319.14000000001</c:v>
                </c:pt>
              </c:numCache>
            </c:numRef>
          </c:val>
        </c:ser>
        <c:ser>
          <c:idx val="1"/>
          <c:order val="1"/>
          <c:tx>
            <c:strRef>
              <c:f>'Развитие мун образов'!$A$4</c:f>
              <c:strCache>
                <c:ptCount val="1"/>
                <c:pt idx="0">
                  <c:v>межбюджетные трансферты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-3.2470826991375011E-2"/>
                  <c:y val="-3.1859820802305552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264840182648401E-2"/>
                  <c:y val="-1.9115892481383321E-2"/>
                </c:manualLayout>
              </c:layout>
              <c:dLblPos val="outEnd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out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Развитие мун образов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мун образов'!$B$4:$D$4</c:f>
              <c:numCache>
                <c:formatCode>#,##0.00</c:formatCode>
                <c:ptCount val="3"/>
                <c:pt idx="0">
                  <c:v>27935.17</c:v>
                </c:pt>
                <c:pt idx="1">
                  <c:v>3335.29</c:v>
                </c:pt>
                <c:pt idx="2">
                  <c:v>3345.5</c:v>
                </c:pt>
              </c:numCache>
            </c:numRef>
          </c:val>
        </c:ser>
        <c:dLbls>
          <c:showVal val="1"/>
        </c:dLbls>
        <c:axId val="77615104"/>
        <c:axId val="77616640"/>
      </c:barChart>
      <c:lineChart>
        <c:grouping val="standard"/>
        <c:ser>
          <c:idx val="2"/>
          <c:order val="2"/>
          <c:tx>
            <c:strRef>
              <c:f>'Развитие мун образов'!$A$5</c:f>
              <c:strCache>
                <c:ptCount val="1"/>
                <c:pt idx="0">
                  <c:v>Всего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pPr>
              <a:solidFill>
                <a:schemeClr val="accent2"/>
              </a:solidFill>
              <a:ln>
                <a:solidFill>
                  <a:schemeClr val="accent2">
                    <a:lumMod val="75000"/>
                  </a:schemeClr>
                </a:solidFill>
              </a:ln>
            </c:spPr>
          </c:marker>
          <c:dLbls>
            <c:dLbl>
              <c:idx val="0"/>
              <c:layout>
                <c:manualLayout>
                  <c:x val="-5.4505961241794874E-2"/>
                  <c:y val="-5.416169536391943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6.0373306107480693E-2"/>
                  <c:y val="-8.160300720173968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4128353966256863E-2"/>
                  <c:y val="-7.385073271430896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Развитие мун образов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Развитие мун образов'!$B$5:$D$5</c:f>
              <c:numCache>
                <c:formatCode>#,##0.00</c:formatCode>
                <c:ptCount val="3"/>
                <c:pt idx="0">
                  <c:v>244701.8</c:v>
                </c:pt>
                <c:pt idx="1">
                  <c:v>176039.53</c:v>
                </c:pt>
                <c:pt idx="2">
                  <c:v>156664.64000000001</c:v>
                </c:pt>
              </c:numCache>
            </c:numRef>
          </c:val>
        </c:ser>
        <c:marker val="1"/>
        <c:axId val="77615104"/>
        <c:axId val="77616640"/>
      </c:lineChart>
      <c:catAx>
        <c:axId val="77615104"/>
        <c:scaling>
          <c:orientation val="minMax"/>
        </c:scaling>
        <c:axPos val="b"/>
        <c:numFmt formatCode="General" sourceLinked="0"/>
        <c:tickLblPos val="nextTo"/>
        <c:crossAx val="77616640"/>
        <c:crosses val="autoZero"/>
        <c:auto val="1"/>
        <c:lblAlgn val="ctr"/>
        <c:lblOffset val="100"/>
      </c:catAx>
      <c:valAx>
        <c:axId val="77616640"/>
        <c:scaling>
          <c:orientation val="minMax"/>
        </c:scaling>
        <c:axPos val="l"/>
        <c:majorGridlines/>
        <c:numFmt formatCode="#,##0.00" sourceLinked="1"/>
        <c:tickLblPos val="nextTo"/>
        <c:crossAx val="77615104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/>
        <a:lstStyle/>
        <a:p>
          <a:pPr>
            <a:defRPr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1"/>
  <c:chart>
    <c:plotArea>
      <c:layout>
        <c:manualLayout>
          <c:layoutTarget val="inner"/>
          <c:xMode val="edge"/>
          <c:yMode val="edge"/>
          <c:x val="0.11682403762029746"/>
          <c:y val="7.4074495147852012E-2"/>
          <c:w val="0.8678981846019248"/>
          <c:h val="0.8506551984543691"/>
        </c:manualLayout>
      </c:layout>
      <c:barChart>
        <c:barDir val="col"/>
        <c:grouping val="clustered"/>
        <c:ser>
          <c:idx val="0"/>
          <c:order val="0"/>
          <c:dLbls>
            <c:dLbl>
              <c:idx val="1"/>
              <c:layout>
                <c:manualLayout>
                  <c:x val="0"/>
                  <c:y val="-7.000542955496942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trendline>
            <c:spPr>
              <a:ln w="38100">
                <a:solidFill>
                  <a:srgbClr val="C00000"/>
                </a:solidFill>
              </a:ln>
            </c:spPr>
            <c:trendlineType val="linear"/>
          </c:trendline>
          <c:cat>
            <c:strRef>
              <c:f>'упр фин'!$B$2:$D$2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упр фин'!$B$3:$D$3</c:f>
              <c:numCache>
                <c:formatCode>#,##0.00</c:formatCode>
                <c:ptCount val="3"/>
                <c:pt idx="0">
                  <c:v>86583.35</c:v>
                </c:pt>
                <c:pt idx="1">
                  <c:v>68057.100000000006</c:v>
                </c:pt>
                <c:pt idx="2">
                  <c:v>61111.59</c:v>
                </c:pt>
              </c:numCache>
            </c:numRef>
          </c:val>
        </c:ser>
        <c:dLbls>
          <c:showVal val="1"/>
        </c:dLbls>
        <c:gapWidth val="270"/>
        <c:axId val="77539584"/>
        <c:axId val="77553664"/>
      </c:barChart>
      <c:catAx>
        <c:axId val="77539584"/>
        <c:scaling>
          <c:orientation val="minMax"/>
        </c:scaling>
        <c:axPos val="b"/>
        <c:numFmt formatCode="General" sourceLinked="0"/>
        <c:majorTickMark val="none"/>
        <c:tickLblPos val="nextTo"/>
        <c:crossAx val="77553664"/>
        <c:crosses val="autoZero"/>
        <c:auto val="1"/>
        <c:lblAlgn val="ctr"/>
        <c:lblOffset val="100"/>
      </c:catAx>
      <c:valAx>
        <c:axId val="77553664"/>
        <c:scaling>
          <c:orientation val="minMax"/>
        </c:scaling>
        <c:axPos val="l"/>
        <c:numFmt formatCode="#,##0.00" sourceLinked="1"/>
        <c:majorTickMark val="none"/>
        <c:tickLblPos val="nextTo"/>
        <c:crossAx val="77539584"/>
        <c:crosses val="autoZero"/>
        <c:crossBetween val="between"/>
      </c:valAx>
      <c:spPr>
        <a:noFill/>
        <a:ln>
          <a:solidFill>
            <a:schemeClr val="accent2">
              <a:lumMod val="75000"/>
            </a:schemeClr>
          </a:solidFill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9.1627296587926732E-2"/>
          <c:y val="5.7709347929741125E-2"/>
          <c:w val="0.88337270341207352"/>
          <c:h val="0.82168115007345133"/>
        </c:manualLayout>
      </c:layout>
      <c:barChart>
        <c:barDir val="col"/>
        <c:grouping val="stacked"/>
        <c:ser>
          <c:idx val="0"/>
          <c:order val="0"/>
          <c:spPr>
            <a:gradFill rotWithShape="1">
              <a:gsLst>
                <a:gs pos="0">
                  <a:schemeClr val="accent5">
                    <a:shade val="51000"/>
                    <a:satMod val="130000"/>
                  </a:schemeClr>
                </a:gs>
                <a:gs pos="80000">
                  <a:schemeClr val="accent5">
                    <a:shade val="93000"/>
                    <a:satMod val="130000"/>
                  </a:schemeClr>
                </a:gs>
                <a:gs pos="100000">
                  <a:schemeClr val="accent5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0"/>
                  <c:y val="-0.41240740740740794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0"/>
                  <c:y val="-0.41240740740740794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41240740740740794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40777777777777835"/>
                </c:manualLayout>
              </c:layout>
              <c:dLblPos val="ctr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dLblPos val="inEnd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городская среда'!$B$3:$D$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'городская среда'!$B$4:$D$4</c:f>
              <c:numCache>
                <c:formatCode>#\ ##0.0</c:formatCode>
                <c:ptCount val="3"/>
                <c:pt idx="0">
                  <c:v>3157.9</c:v>
                </c:pt>
                <c:pt idx="1">
                  <c:v>3157.9</c:v>
                </c:pt>
                <c:pt idx="2">
                  <c:v>3157.9</c:v>
                </c:pt>
              </c:numCache>
            </c:numRef>
          </c:val>
        </c:ser>
        <c:dLbls>
          <c:showVal val="1"/>
        </c:dLbls>
        <c:gapWidth val="241"/>
        <c:overlap val="100"/>
        <c:axId val="77623296"/>
        <c:axId val="77681792"/>
      </c:barChart>
      <c:catAx>
        <c:axId val="77623296"/>
        <c:scaling>
          <c:orientation val="minMax"/>
        </c:scaling>
        <c:axPos val="b"/>
        <c:numFmt formatCode="General" sourceLinked="0"/>
        <c:tickLblPos val="nextTo"/>
        <c:crossAx val="77681792"/>
        <c:crosses val="autoZero"/>
        <c:auto val="1"/>
        <c:lblAlgn val="ctr"/>
        <c:lblOffset val="100"/>
      </c:catAx>
      <c:valAx>
        <c:axId val="77681792"/>
        <c:scaling>
          <c:orientation val="minMax"/>
        </c:scaling>
        <c:axPos val="l"/>
        <c:majorGridlines/>
        <c:numFmt formatCode="#\ ##0.0" sourceLinked="1"/>
        <c:tickLblPos val="nextTo"/>
        <c:crossAx val="77623296"/>
        <c:crosses val="autoZero"/>
        <c:crossBetween val="between"/>
      </c:valAx>
      <c:spPr>
        <a:noFill/>
        <a:ln>
          <a:solidFill>
            <a:srgbClr val="C00000"/>
          </a:solidFill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1.1068943706514862E-2"/>
          <c:y val="8.0606722090512339E-2"/>
          <c:w val="0.98893105629348654"/>
          <c:h val="0.75488322661551999"/>
        </c:manualLayout>
      </c:layout>
      <c:barChart>
        <c:barDir val="col"/>
        <c:grouping val="stacked"/>
        <c:ser>
          <c:idx val="1"/>
          <c:order val="0"/>
          <c:tx>
            <c:strRef>
              <c:f>'доходы 1'!$B$4</c:f>
              <c:strCache>
                <c:ptCount val="1"/>
                <c:pt idx="0">
                  <c:v>Собственные доходы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1'!$C$2:$F$2</c:f>
              <c:strCache>
                <c:ptCount val="4"/>
                <c:pt idx="0">
                  <c:v>2017 год (план) первоначальный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'доходы 1'!$C$4:$F$4</c:f>
              <c:numCache>
                <c:formatCode>#,##0.00</c:formatCode>
                <c:ptCount val="4"/>
                <c:pt idx="0">
                  <c:v>1098.44</c:v>
                </c:pt>
                <c:pt idx="1">
                  <c:v>1183.3499999999999</c:v>
                </c:pt>
                <c:pt idx="2">
                  <c:v>1163.1899999999998</c:v>
                </c:pt>
                <c:pt idx="3">
                  <c:v>1136.24</c:v>
                </c:pt>
              </c:numCache>
            </c:numRef>
          </c:val>
        </c:ser>
        <c:ser>
          <c:idx val="0"/>
          <c:order val="1"/>
          <c:tx>
            <c:strRef>
              <c:f>'доходы 1'!$B$3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hade val="51000"/>
                    <a:satMod val="130000"/>
                  </a:schemeClr>
                </a:gs>
                <a:gs pos="80000">
                  <a:schemeClr val="accent4">
                    <a:shade val="93000"/>
                    <a:satMod val="130000"/>
                  </a:schemeClr>
                </a:gs>
                <a:gs pos="100000">
                  <a:schemeClr val="accent4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1'!$C$2:$F$2</c:f>
              <c:strCache>
                <c:ptCount val="4"/>
                <c:pt idx="0">
                  <c:v>2017 год (план) первоначальный</c:v>
                </c:pt>
                <c:pt idx="1">
                  <c:v>2018 год (проект)</c:v>
                </c:pt>
                <c:pt idx="2">
                  <c:v>2019 год (проект)</c:v>
                </c:pt>
                <c:pt idx="3">
                  <c:v>2020 год (проект)</c:v>
                </c:pt>
              </c:strCache>
            </c:strRef>
          </c:cat>
          <c:val>
            <c:numRef>
              <c:f>'доходы 1'!$C$3:$F$3</c:f>
              <c:numCache>
                <c:formatCode>#,##0.00</c:formatCode>
                <c:ptCount val="4"/>
                <c:pt idx="0">
                  <c:v>1866.97</c:v>
                </c:pt>
                <c:pt idx="1">
                  <c:v>1842</c:v>
                </c:pt>
                <c:pt idx="2">
                  <c:v>1673.24</c:v>
                </c:pt>
                <c:pt idx="3">
                  <c:v>1688.1</c:v>
                </c:pt>
              </c:numCache>
            </c:numRef>
          </c:val>
        </c:ser>
        <c:gapWidth val="84"/>
        <c:overlap val="100"/>
        <c:axId val="67247104"/>
        <c:axId val="67273472"/>
      </c:barChart>
      <c:catAx>
        <c:axId val="6724710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67273472"/>
        <c:crosses val="autoZero"/>
        <c:auto val="1"/>
        <c:lblAlgn val="ctr"/>
        <c:lblOffset val="100"/>
      </c:catAx>
      <c:valAx>
        <c:axId val="672734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tickLblPos val="nextTo"/>
        <c:crossAx val="67247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622498499769343"/>
          <c:y val="0.95171044033737262"/>
          <c:w val="0.54427535236215563"/>
          <c:h val="4.828955966262774E-2"/>
        </c:manualLayout>
      </c:layout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'Доходы 2'!$B$4</c:f>
              <c:strCache>
                <c:ptCount val="1"/>
                <c:pt idx="0">
                  <c:v>2017 год (первоначальный план)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2'!$C$3:$F$3</c:f>
              <c:strCache>
                <c:ptCount val="4"/>
                <c:pt idx="0">
                  <c:v>Дотации</c:v>
                </c:pt>
                <c:pt idx="1">
                  <c:v>Субсидии</c:v>
                </c:pt>
                <c:pt idx="2">
                  <c:v>Субвенции</c:v>
                </c:pt>
                <c:pt idx="3">
                  <c:v>Прочие</c:v>
                </c:pt>
              </c:strCache>
            </c:strRef>
          </c:cat>
          <c:val>
            <c:numRef>
              <c:f>'Доходы 2'!$C$4:$F$4</c:f>
              <c:numCache>
                <c:formatCode>#\ ##0.0</c:formatCode>
                <c:ptCount val="4"/>
                <c:pt idx="0">
                  <c:v>417.6</c:v>
                </c:pt>
                <c:pt idx="1">
                  <c:v>257.2</c:v>
                </c:pt>
                <c:pt idx="2">
                  <c:v>1682.5</c:v>
                </c:pt>
                <c:pt idx="3">
                  <c:v>4.7</c:v>
                </c:pt>
              </c:numCache>
            </c:numRef>
          </c:val>
        </c:ser>
        <c:ser>
          <c:idx val="1"/>
          <c:order val="1"/>
          <c:tx>
            <c:strRef>
              <c:f>'Доходы 2'!$B$5</c:f>
              <c:strCache>
                <c:ptCount val="1"/>
                <c:pt idx="0">
                  <c:v>2018 год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Доходы 2'!$C$3:$F$3</c:f>
              <c:strCache>
                <c:ptCount val="4"/>
                <c:pt idx="0">
                  <c:v>Дотации</c:v>
                </c:pt>
                <c:pt idx="1">
                  <c:v>Субсидии</c:v>
                </c:pt>
                <c:pt idx="2">
                  <c:v>Субвенции</c:v>
                </c:pt>
                <c:pt idx="3">
                  <c:v>Прочие</c:v>
                </c:pt>
              </c:strCache>
            </c:strRef>
          </c:cat>
          <c:val>
            <c:numRef>
              <c:f>'Доходы 2'!$C$5:$F$5</c:f>
              <c:numCache>
                <c:formatCode>#\ ##0.0</c:formatCode>
                <c:ptCount val="4"/>
                <c:pt idx="0">
                  <c:v>450.5</c:v>
                </c:pt>
                <c:pt idx="1">
                  <c:v>378.2</c:v>
                </c:pt>
                <c:pt idx="2">
                  <c:v>1641.3</c:v>
                </c:pt>
                <c:pt idx="3">
                  <c:v>9</c:v>
                </c:pt>
              </c:numCache>
            </c:numRef>
          </c:val>
        </c:ser>
        <c:gapWidth val="100"/>
        <c:overlap val="-24"/>
        <c:axId val="67528960"/>
        <c:axId val="67534848"/>
      </c:barChart>
      <c:catAx>
        <c:axId val="6752896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67534848"/>
        <c:crosses val="autoZero"/>
        <c:auto val="1"/>
        <c:lblAlgn val="ctr"/>
        <c:lblOffset val="100"/>
      </c:catAx>
      <c:valAx>
        <c:axId val="67534848"/>
        <c:scaling>
          <c:orientation val="minMax"/>
          <c:max val="22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\ ##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endParaRPr lang="ru-RU"/>
          </a:p>
        </c:txPr>
        <c:crossAx val="6752896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legend>
      <c:legendPos val="b"/>
      <c:layout/>
      <c:spPr>
        <a:solidFill>
          <a:schemeClr val="lt1"/>
        </a:solidFill>
        <a:ln w="25400" cap="flat" cmpd="sng" algn="ctr">
          <a:solidFill>
            <a:schemeClr val="accent6"/>
          </a:solidFill>
          <a:prstDash val="solid"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dk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</c:chart>
  <c:spPr>
    <a:noFill/>
    <a:ln w="9525" cap="flat" cmpd="sng" algn="ctr">
      <a:noFill/>
      <a:round/>
    </a:ln>
    <a:effectLst/>
  </c:spPr>
  <c:txPr>
    <a:bodyPr/>
    <a:lstStyle/>
    <a:p>
      <a:pPr>
        <a:defRPr sz="18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6"/>
  <c:chart>
    <c:view3D>
      <c:rotX val="30"/>
      <c:rotY val="230"/>
      <c:perspective val="30"/>
    </c:view3D>
    <c:plotArea>
      <c:layout>
        <c:manualLayout>
          <c:layoutTarget val="inner"/>
          <c:xMode val="edge"/>
          <c:yMode val="edge"/>
          <c:x val="3.2872970524702262E-2"/>
          <c:y val="0"/>
          <c:w val="0.84535525979606529"/>
          <c:h val="1"/>
        </c:manualLayout>
      </c:layout>
      <c:pie3DChart>
        <c:varyColors val="1"/>
        <c:ser>
          <c:idx val="0"/>
          <c:order val="0"/>
          <c:explosion val="26"/>
          <c:dLbls>
            <c:delete val="1"/>
          </c:dLbls>
          <c:cat>
            <c:strRef>
              <c:f>'1'!$A$18:$A$19</c:f>
              <c:strCache>
                <c:ptCount val="2"/>
                <c:pt idx="0">
                  <c:v>межбюджетные трансферты</c:v>
                </c:pt>
                <c:pt idx="1">
                  <c:v>Новые направления</c:v>
                </c:pt>
              </c:strCache>
            </c:strRef>
          </c:cat>
          <c:val>
            <c:numRef>
              <c:f>'1'!$B$18:$B$19</c:f>
              <c:numCache>
                <c:formatCode>General</c:formatCode>
                <c:ptCount val="2"/>
                <c:pt idx="0" formatCode="#,##0.00">
                  <c:v>1102.5999999999999</c:v>
                </c:pt>
                <c:pt idx="1">
                  <c:v>6.4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spPr>
    <a:noFill/>
    <a:ln>
      <a:noFill/>
    </a:ln>
  </c:spPr>
  <c:txPr>
    <a:bodyPr/>
    <a:lstStyle/>
    <a:p>
      <a:pPr>
        <a:defRPr sz="16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8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9.3055555555555863E-2"/>
          <c:y val="0.11346613811808889"/>
          <c:w val="0.81388888888889066"/>
          <c:h val="0.64615247897162453"/>
        </c:manualLayout>
      </c:layout>
      <c:ofPieChart>
        <c:ofPieType val="pie"/>
        <c:varyColors val="1"/>
        <c:ser>
          <c:idx val="0"/>
          <c:order val="0"/>
          <c:dPt>
            <c:idx val="1"/>
            <c:spPr>
              <a:solidFill>
                <a:srgbClr val="C0504D">
                  <a:lumMod val="75000"/>
                </a:srgbClr>
              </a:solidFill>
            </c:spPr>
          </c:dPt>
          <c:dLbls>
            <c:dLbl>
              <c:idx val="0"/>
              <c:layout>
                <c:manualLayout>
                  <c:x val="0.10555555555555562"/>
                  <c:y val="1.6148549968704384E-3"/>
                </c:manualLayout>
              </c:layout>
              <c:tx>
                <c:rich>
                  <a:bodyPr/>
                  <a:lstStyle/>
                  <a:p>
                    <a:pPr>
                      <a:defRPr sz="240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24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3 025,4</a:t>
                    </a:r>
                  </a:p>
                  <a:p>
                    <a:pPr>
                      <a:defRPr sz="240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24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млн. р. </a:t>
                    </a:r>
                    <a:endParaRPr lang="ru-RU" sz="24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6597222222222255"/>
                  <c:y val="9.9565699979136432E-2"/>
                </c:manualLayout>
              </c:layout>
              <c:tx>
                <c:rich>
                  <a:bodyPr/>
                  <a:lstStyle/>
                  <a:p>
                    <a:pPr>
                      <a:defRPr sz="240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defRPr>
                    </a:pPr>
                    <a:r>
                      <a:rPr lang="ru-RU" sz="2400" dirty="0" smtClean="0">
                        <a:solidFill>
                          <a:schemeClr val="bg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rPr>
                      <a:t>1 183,3 млн. р. (39,1%)</a:t>
                    </a:r>
                    <a:endParaRPr lang="ru-RU" sz="2000" dirty="0">
                      <a:latin typeface="Times New Roman" panose="02020603050405020304" pitchFamily="18" charset="0"/>
                      <a:cs typeface="Times New Roman" panose="02020603050405020304" pitchFamily="18" charset="0"/>
                    </a:endParaRPr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>
                    <c:manualLayout>
                      <c:w val="0.25140277777777775"/>
                      <c:h val="0.1827019403296474"/>
                    </c:manualLayout>
                  </c15:layout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outEnd"/>
            <c:showVal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7!$A$4:$A$5</c:f>
              <c:strCache>
                <c:ptCount val="2"/>
                <c:pt idx="0">
                  <c:v>Расходы за счет межбюджетных трансфертов</c:v>
                </c:pt>
                <c:pt idx="1">
                  <c:v>Расходы за счет средств местного бюджета</c:v>
                </c:pt>
              </c:strCache>
            </c:strRef>
          </c:cat>
          <c:val>
            <c:numRef>
              <c:f>Лист7!$B$4:$B$5</c:f>
              <c:numCache>
                <c:formatCode>General</c:formatCode>
                <c:ptCount val="2"/>
                <c:pt idx="0">
                  <c:v>920.3</c:v>
                </c:pt>
                <c:pt idx="1">
                  <c:v>121.3</c:v>
                </c:pt>
              </c:numCache>
            </c:numRef>
          </c:val>
        </c:ser>
        <c:dLbls>
          <c:showVal val="1"/>
        </c:dLbls>
        <c:gapWidth val="100"/>
        <c:secondPieSize val="75"/>
        <c:serLines>
          <c:spPr>
            <a:ln w="6350" cap="rnd" cmpd="sng" algn="ctr">
              <a:solidFill>
                <a:sysClr val="windowText" lastClr="000000">
                  <a:shade val="95000"/>
                  <a:satMod val="105000"/>
                </a:sysClr>
              </a:solidFill>
              <a:prstDash val="solid"/>
            </a:ln>
            <a:effectLst/>
          </c:spPr>
        </c:serLines>
      </c:ofPieChart>
    </c:plotArea>
    <c:plotVisOnly val="1"/>
    <c:dispBlanksAs val="zero"/>
  </c:chart>
  <c:spPr>
    <a:noFill/>
    <a:ln>
      <a:noFill/>
    </a:ln>
  </c:spPr>
  <c:externalData r:id="rId2"/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8"/>
  <c:chart>
    <c:plotArea>
      <c:layout>
        <c:manualLayout>
          <c:layoutTarget val="inner"/>
          <c:xMode val="edge"/>
          <c:yMode val="edge"/>
          <c:x val="0.28329504800554672"/>
          <c:y val="0.18799710773680448"/>
          <c:w val="0.68699128370704066"/>
          <c:h val="0.77223427331887406"/>
        </c:manualLayout>
      </c:layout>
      <c:barChart>
        <c:barDir val="bar"/>
        <c:grouping val="clustered"/>
        <c:ser>
          <c:idx val="0"/>
          <c:order val="0"/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1'!$E$20:$E$28</c:f>
              <c:strCache>
                <c:ptCount val="9"/>
                <c:pt idx="0">
                  <c:v>Неналоговые
доходы</c:v>
                </c:pt>
                <c:pt idx="1">
                  <c:v>Земельный налог</c:v>
                </c:pt>
                <c:pt idx="2">
                  <c:v>Налог на имущество </c:v>
                </c:pt>
                <c:pt idx="3">
                  <c:v>Гос. пошлина</c:v>
                </c:pt>
                <c:pt idx="4">
                  <c:v>Патент</c:v>
                </c:pt>
                <c:pt idx="5">
                  <c:v>ЕСХН</c:v>
                </c:pt>
                <c:pt idx="6">
                  <c:v>ЕНВД</c:v>
                </c:pt>
                <c:pt idx="7">
                  <c:v>Акцизы</c:v>
                </c:pt>
                <c:pt idx="8">
                  <c:v>НДФЛ</c:v>
                </c:pt>
              </c:strCache>
            </c:strRef>
          </c:cat>
          <c:val>
            <c:numRef>
              <c:f>'1'!$F$20:$F$28</c:f>
            </c:numRef>
          </c:val>
        </c:ser>
        <c:ser>
          <c:idx val="1"/>
          <c:order val="1"/>
          <c:spPr>
            <a:solidFill>
              <a:schemeClr val="accent4">
                <a:lumMod val="50000"/>
              </a:schemeClr>
            </a:solidFill>
          </c:spPr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 i="0" u="none" strike="noStrike" baseline="0">
                    <a:solidFill>
                      <a:srgbClr val="000000"/>
                    </a:solidFill>
                    <a:latin typeface="Times New Roman" panose="02020603050405020304" pitchFamily="18" charset="0"/>
                    <a:ea typeface="Calibri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1'!$E$20:$E$28</c:f>
              <c:strCache>
                <c:ptCount val="9"/>
                <c:pt idx="0">
                  <c:v>Неналоговые
доходы</c:v>
                </c:pt>
                <c:pt idx="1">
                  <c:v>Земельный налог</c:v>
                </c:pt>
                <c:pt idx="2">
                  <c:v>Налог на имущество </c:v>
                </c:pt>
                <c:pt idx="3">
                  <c:v>Гос. пошлина</c:v>
                </c:pt>
                <c:pt idx="4">
                  <c:v>Патент</c:v>
                </c:pt>
                <c:pt idx="5">
                  <c:v>ЕСХН</c:v>
                </c:pt>
                <c:pt idx="6">
                  <c:v>ЕНВД</c:v>
                </c:pt>
                <c:pt idx="7">
                  <c:v>Акцизы</c:v>
                </c:pt>
                <c:pt idx="8">
                  <c:v>НДФЛ</c:v>
                </c:pt>
              </c:strCache>
            </c:strRef>
          </c:cat>
          <c:val>
            <c:numRef>
              <c:f>'1'!$G$20:$G$28</c:f>
              <c:numCache>
                <c:formatCode>General</c:formatCode>
                <c:ptCount val="9"/>
                <c:pt idx="0" formatCode="#\ ##0.0">
                  <c:v>139.4</c:v>
                </c:pt>
                <c:pt idx="1">
                  <c:v>58.6</c:v>
                </c:pt>
                <c:pt idx="2">
                  <c:v>14.3</c:v>
                </c:pt>
                <c:pt idx="3" formatCode="#\ ##0.0">
                  <c:v>10.8</c:v>
                </c:pt>
                <c:pt idx="4" formatCode="#\ ##0.0">
                  <c:v>8</c:v>
                </c:pt>
                <c:pt idx="5" formatCode="#\ ##0.0">
                  <c:v>14.2</c:v>
                </c:pt>
                <c:pt idx="6" formatCode="#\ ##0.0">
                  <c:v>57.5</c:v>
                </c:pt>
                <c:pt idx="7" formatCode="#\ ##0.0">
                  <c:v>31.9</c:v>
                </c:pt>
                <c:pt idx="8" formatCode="#\ ##0.0">
                  <c:v>211.5</c:v>
                </c:pt>
              </c:numCache>
            </c:numRef>
          </c:val>
        </c:ser>
        <c:overlap val="-25"/>
        <c:axId val="69437696"/>
        <c:axId val="69480448"/>
      </c:barChart>
      <c:catAx>
        <c:axId val="69437696"/>
        <c:scaling>
          <c:orientation val="minMax"/>
        </c:scaling>
        <c:axPos val="l"/>
        <c:numFmt formatCode="General" sourceLinked="1"/>
        <c:majorTickMark val="none"/>
        <c:tickLblPos val="nextTo"/>
        <c:txPr>
          <a:bodyPr rot="0" vert="horz"/>
          <a:lstStyle/>
          <a:p>
            <a:pPr>
              <a:defRPr sz="1400" b="0" i="0" u="none" strike="noStrike" baseline="0">
                <a:solidFill>
                  <a:srgbClr val="00000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defRPr>
            </a:pPr>
            <a:endParaRPr lang="ru-RU"/>
          </a:p>
        </c:txPr>
        <c:crossAx val="69480448"/>
        <c:crosses val="autoZero"/>
        <c:auto val="1"/>
        <c:lblAlgn val="ctr"/>
        <c:lblOffset val="100"/>
      </c:catAx>
      <c:valAx>
        <c:axId val="69480448"/>
        <c:scaling>
          <c:orientation val="minMax"/>
        </c:scaling>
        <c:delete val="1"/>
        <c:axPos val="b"/>
        <c:numFmt formatCode="#\ ##0.0" sourceLinked="1"/>
        <c:tickLblPos val="nextTo"/>
        <c:crossAx val="6943769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34"/>
  <c:chart>
    <c:view3D>
      <c:rotX val="30"/>
      <c:rotY val="260"/>
      <c:perspective val="0"/>
    </c:view3D>
    <c:plotArea>
      <c:layout/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-0.1255356517935258"/>
                  <c:y val="8.5261738116068804E-3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19145103813242881"/>
                  <c:y val="-7.7061423189631245E-2"/>
                </c:manualLayout>
              </c:layout>
              <c:tx>
                <c:rich>
                  <a:bodyPr/>
                  <a:lstStyle/>
                  <a:p>
                    <a:pPr>
                      <a:defRPr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defRPr>
                    </a:pPr>
                    <a:r>
                      <a:rPr lang="ru-RU" dirty="0"/>
                      <a:t>Акцизы; </a:t>
                    </a:r>
                    <a:r>
                      <a:rPr lang="ru-RU" dirty="0" smtClean="0"/>
                      <a:t>5,8%</a:t>
                    </a:r>
                    <a:endParaRPr lang="ru-RU" dirty="0"/>
                  </a:p>
                </c:rich>
              </c:tx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8.4537054819367005E-2"/>
                  <c:y val="-0.19532876577927127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7.1240210827305125E-2"/>
                  <c:y val="0.19469337461782746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-6.6492542090775236E-2"/>
                  <c:y val="0.18134979951722549"/>
                </c:manualLayout>
              </c:layout>
              <c:spPr>
                <a:solidFill>
                  <a:schemeClr val="lt1"/>
                </a:solidFill>
                <a:ln w="25400" cap="flat" cmpd="sng" algn="ctr">
                  <a:solidFill>
                    <a:schemeClr val="accent6"/>
                  </a:solidFill>
                  <a:prstDash val="solid"/>
                </a:ln>
                <a:effectLst/>
              </c:spPr>
              <c:txPr>
                <a:bodyPr/>
                <a:lstStyle/>
                <a:p>
                  <a:pPr>
                    <a:defRPr>
                      <a:solidFill>
                        <a:schemeClr val="dk1"/>
                      </a:solidFill>
                      <a:latin typeface="Times New Roman" panose="02020603050405020304" pitchFamily="18" charset="0"/>
                      <a:ea typeface="+mn-ea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dLblPos val="bestFit"/>
              <c:showVal val="1"/>
              <c:showCatName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bestFit"/>
            <c:showVal val="1"/>
            <c:showCatName val="1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[Таблица к слайду 10.xls]1'!$A$8:$A$16</c:f>
              <c:strCache>
                <c:ptCount val="9"/>
                <c:pt idx="0">
                  <c:v>НДФЛ</c:v>
                </c:pt>
                <c:pt idx="1">
                  <c:v>Акцизы</c:v>
                </c:pt>
                <c:pt idx="2">
                  <c:v>ЕНВД</c:v>
                </c:pt>
                <c:pt idx="3">
                  <c:v>ЕСХН</c:v>
                </c:pt>
                <c:pt idx="4">
                  <c:v>Патент</c:v>
                </c:pt>
                <c:pt idx="5">
                  <c:v>Неналоговые
доходы</c:v>
                </c:pt>
                <c:pt idx="6">
                  <c:v>Гос. пошлина</c:v>
                </c:pt>
                <c:pt idx="7">
                  <c:v>Налог на имущество</c:v>
                </c:pt>
                <c:pt idx="8">
                  <c:v>Земельный налог</c:v>
                </c:pt>
              </c:strCache>
            </c:strRef>
          </c:cat>
          <c:val>
            <c:numRef>
              <c:f>'[Таблица к слайду 10.xls]1'!$B$8:$B$16</c:f>
              <c:numCache>
                <c:formatCode>0.0%</c:formatCode>
                <c:ptCount val="9"/>
                <c:pt idx="0">
                  <c:v>0.38700000000000023</c:v>
                </c:pt>
                <c:pt idx="1">
                  <c:v>5.9000000000000025E-2</c:v>
                </c:pt>
                <c:pt idx="2">
                  <c:v>0.10500000000000002</c:v>
                </c:pt>
                <c:pt idx="3">
                  <c:v>2.5999999999999999E-2</c:v>
                </c:pt>
                <c:pt idx="4">
                  <c:v>1.4999999999999998E-2</c:v>
                </c:pt>
                <c:pt idx="5">
                  <c:v>0.255</c:v>
                </c:pt>
                <c:pt idx="6">
                  <c:v>2.0000000000000011E-2</c:v>
                </c:pt>
                <c:pt idx="7">
                  <c:v>2.5999999999999999E-2</c:v>
                </c:pt>
                <c:pt idx="8">
                  <c:v>0.10700000000000005</c:v>
                </c:pt>
              </c:numCache>
            </c:numRef>
          </c:val>
        </c:ser>
      </c:pie3DChart>
      <c:spPr>
        <a:noFill/>
        <a:ln w="25400">
          <a:noFill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4"/>
  <c:chart>
    <c:autoTitleDeleted val="1"/>
    <c:plotArea>
      <c:layout>
        <c:manualLayout>
          <c:layoutTarget val="inner"/>
          <c:xMode val="edge"/>
          <c:yMode val="edge"/>
          <c:x val="0"/>
          <c:y val="4.0273302966337072E-3"/>
          <c:w val="1"/>
          <c:h val="0.6896961411354776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Минимальный размер оплаты труда</c:v>
                </c:pt>
              </c:strCache>
            </c:strRef>
          </c:tx>
          <c:spPr>
            <a:ln>
              <a:solidFill>
                <a:srgbClr val="E97C2B"/>
              </a:solidFill>
            </a:ln>
          </c:spPr>
          <c:marker>
            <c:symbol val="circle"/>
            <c:size val="9"/>
            <c:spPr>
              <a:solidFill>
                <a:srgbClr val="FF9900"/>
              </a:solidFill>
              <a:ln>
                <a:solidFill>
                  <a:srgbClr val="E97C2B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3"/>
              <c:layout>
                <c:manualLayout>
                  <c:x val="-5.6360983038923035E-2"/>
                  <c:y val="5.1334725863682464E-2"/>
                </c:manualLayout>
              </c:layout>
              <c:dLblPos val="r"/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dLblPos val="b"/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6 год</c:v>
                </c:pt>
                <c:pt idx="1">
                  <c:v>с 01.07.2017 года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</c:strCache>
            </c:strRef>
          </c:cat>
          <c:val>
            <c:numRef>
              <c:f>Лист1!$B$2:$B$6</c:f>
              <c:numCache>
                <c:formatCode>#,##0</c:formatCode>
                <c:ptCount val="5"/>
                <c:pt idx="0">
                  <c:v>7500</c:v>
                </c:pt>
                <c:pt idx="1">
                  <c:v>7800</c:v>
                </c:pt>
                <c:pt idx="2">
                  <c:v>9489</c:v>
                </c:pt>
                <c:pt idx="3">
                  <c:v>11598</c:v>
                </c:pt>
                <c:pt idx="4">
                  <c:v>1194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житочный минимум в Ставропольском крае (2 квартал предудыщего финансового года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circle"/>
            <c:size val="9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</c:marker>
          <c:dLbls>
            <c:dLbl>
              <c:idx val="0"/>
              <c:layout>
                <c:manualLayout>
                  <c:x val="-4.8100716082051485E-2"/>
                  <c:y val="-4.684829912085663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8100716082051458E-2"/>
                  <c:y val="-5.2704336510963734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4.8100716082051485E-2"/>
                  <c:y val="-5.2704336510963734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5.6251157278820747E-2"/>
                  <c:y val="-4.0992292829889539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5.3178003369995855E-2"/>
                  <c:y val="-4.2253829955184154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2016 год</c:v>
                </c:pt>
                <c:pt idx="1">
                  <c:v>с 01.07.2017 года</c:v>
                </c:pt>
                <c:pt idx="2">
                  <c:v>2018 год</c:v>
                </c:pt>
                <c:pt idx="3">
                  <c:v>2019 год</c:v>
                </c:pt>
                <c:pt idx="4">
                  <c:v>2020 год</c:v>
                </c:pt>
              </c:strCache>
            </c:strRef>
          </c:cat>
          <c:val>
            <c:numRef>
              <c:f>Лист1!$C$2:$C$6</c:f>
              <c:numCache>
                <c:formatCode>#,##0</c:formatCode>
                <c:ptCount val="5"/>
                <c:pt idx="0">
                  <c:v>9041</c:v>
                </c:pt>
                <c:pt idx="1">
                  <c:v>8916</c:v>
                </c:pt>
                <c:pt idx="2">
                  <c:v>9404</c:v>
                </c:pt>
              </c:numCache>
            </c:numRef>
          </c:val>
        </c:ser>
        <c:marker val="1"/>
        <c:axId val="110598784"/>
        <c:axId val="110604672"/>
      </c:lineChart>
      <c:catAx>
        <c:axId val="1105987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600"/>
            </a:pPr>
            <a:endParaRPr lang="ru-RU"/>
          </a:p>
        </c:txPr>
        <c:crossAx val="110604672"/>
        <c:crosses val="autoZero"/>
        <c:auto val="1"/>
        <c:lblAlgn val="ctr"/>
        <c:lblOffset val="100"/>
      </c:catAx>
      <c:valAx>
        <c:axId val="110604672"/>
        <c:scaling>
          <c:orientation val="minMax"/>
          <c:max val="13000"/>
          <c:min val="2000"/>
        </c:scaling>
        <c:delete val="1"/>
        <c:axPos val="l"/>
        <c:numFmt formatCode="#,##0" sourceLinked="1"/>
        <c:tickLblPos val="none"/>
        <c:crossAx val="11059878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5304086582972262E-2"/>
          <c:y val="0.77754920399745464"/>
          <c:w val="0.97527080324410298"/>
          <c:h val="9.228900628243257E-2"/>
        </c:manualLayout>
      </c:layout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</c:chart>
  <c:txPr>
    <a:bodyPr/>
    <a:lstStyle/>
    <a:p>
      <a:pPr>
        <a:defRPr sz="1400">
          <a:latin typeface="Times New Roman" panose="02020603050405020304" pitchFamily="18" charset="0"/>
          <a:cs typeface="Times New Roman" panose="02020603050405020304" pitchFamily="18" charset="0"/>
        </a:defRPr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0.27792768797589973"/>
          <c:y val="0.15213568892123791"/>
          <c:w val="0.48204494620094074"/>
          <c:h val="0.71253534484659997"/>
        </c:manualLayout>
      </c:layout>
      <c:doughnutChart>
        <c:varyColors val="1"/>
        <c:ser>
          <c:idx val="0"/>
          <c:order val="0"/>
          <c:spPr>
            <a:scene3d>
              <a:camera prst="orthographicFront"/>
              <a:lightRig rig="threePt" dir="t"/>
            </a:scene3d>
            <a:sp3d>
              <a:bevelT/>
              <a:bevelB w="165100" prst="coolSlant"/>
            </a:sp3d>
          </c:spPr>
          <c:explosion val="18"/>
          <c:dPt>
            <c:idx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1"/>
            <c:spPr>
              <a:gradFill rotWithShape="1">
                <a:gsLst>
                  <a:gs pos="0">
                    <a:schemeClr val="accent2"/>
                  </a:gs>
                  <a:gs pos="80000">
                    <a:schemeClr val="accent2">
                      <a:shade val="93000"/>
                      <a:satMod val="130000"/>
                    </a:schemeClr>
                  </a:gs>
                  <a:gs pos="100000">
                    <a:schemeClr val="accent2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2"/>
            <c:spPr>
              <a:gradFill rotWithShape="1">
                <a:gsLst>
                  <a:gs pos="0">
                    <a:schemeClr val="accent3">
                      <a:shade val="51000"/>
                      <a:satMod val="130000"/>
                    </a:schemeClr>
                  </a:gs>
                  <a:gs pos="80000">
                    <a:schemeClr val="accent3">
                      <a:shade val="93000"/>
                      <a:satMod val="130000"/>
                    </a:schemeClr>
                  </a:gs>
                  <a:gs pos="100000">
                    <a:schemeClr val="accent3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3"/>
            <c:spPr>
              <a:gradFill rotWithShape="1">
                <a:gsLst>
                  <a:gs pos="0">
                    <a:schemeClr val="accent4">
                      <a:shade val="51000"/>
                      <a:satMod val="130000"/>
                    </a:schemeClr>
                  </a:gs>
                  <a:gs pos="80000">
                    <a:schemeClr val="accent4">
                      <a:shade val="93000"/>
                      <a:satMod val="130000"/>
                    </a:schemeClr>
                  </a:gs>
                  <a:gs pos="100000">
                    <a:schemeClr val="accent4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Pt>
            <c:idx val="4"/>
            <c:spPr>
              <a:gradFill rotWithShape="1">
                <a:gsLst>
                  <a:gs pos="0">
                    <a:schemeClr val="accent5">
                      <a:shade val="51000"/>
                      <a:satMod val="130000"/>
                    </a:schemeClr>
                  </a:gs>
                  <a:gs pos="80000">
                    <a:schemeClr val="accent5">
                      <a:shade val="93000"/>
                      <a:satMod val="130000"/>
                    </a:schemeClr>
                  </a:gs>
                  <a:gs pos="100000">
                    <a:schemeClr val="accent5">
                      <a:shade val="94000"/>
                      <a:satMod val="135000"/>
                    </a:schemeClr>
                  </a:gs>
                </a:gsLst>
                <a:lin ang="16200000" scaled="0"/>
              </a:gradFill>
              <a:ln w="19050"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  <a:bevelB w="165100" prst="coolSlant"/>
              </a:sp3d>
            </c:spPr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3,15</a:t>
                    </a:r>
                  </a:p>
                </c:rich>
              </c:tx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-1.8950161076369168E-3"/>
                  <c:y val="-2.8011204481792761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solidFill>
                <a:schemeClr val="lt1"/>
              </a:solidFill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100" b="0" i="0" u="none" strike="noStrike" kern="1200" baseline="0">
                    <a:solidFill>
                      <a:schemeClr val="dk1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3!$B$5:$B$9</c:f>
              <c:strCache>
                <c:ptCount val="5"/>
                <c:pt idx="0">
                  <c:v>Индексация коммунальных услуг</c:v>
                </c:pt>
                <c:pt idx="1">
                  <c:v>Оформление муниципальной собственности</c:v>
                </c:pt>
                <c:pt idx="2">
                  <c:v>Развитие систем коммунальной инфраструктуры</c:v>
                </c:pt>
                <c:pt idx="3">
                  <c:v>Укрепление материально-технической базы "Управления ГО и ЧС"</c:v>
                </c:pt>
                <c:pt idx="4">
                  <c:v>Поддержка среднего и малого предпринимательства</c:v>
                </c:pt>
              </c:strCache>
            </c:strRef>
          </c:cat>
          <c:val>
            <c:numRef>
              <c:f>Лист3!$C$5:$C$9</c:f>
              <c:numCache>
                <c:formatCode>General</c:formatCode>
                <c:ptCount val="5"/>
                <c:pt idx="0">
                  <c:v>4.5</c:v>
                </c:pt>
                <c:pt idx="1">
                  <c:v>3.15</c:v>
                </c:pt>
                <c:pt idx="2">
                  <c:v>2.5</c:v>
                </c:pt>
                <c:pt idx="3">
                  <c:v>3.5</c:v>
                </c:pt>
                <c:pt idx="4">
                  <c:v>1</c:v>
                </c:pt>
              </c:numCache>
            </c:numRef>
          </c:val>
        </c:ser>
        <c:firstSliceAng val="151"/>
        <c:holeSize val="47"/>
      </c:doughnutChart>
      <c:spPr>
        <a:noFill/>
        <a:ln>
          <a:noFill/>
        </a:ln>
        <a:effectLst/>
      </c:spPr>
    </c:plotArea>
    <c:plotVisOnly val="1"/>
    <c:dispBlanksAs val="zero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1890DB-9888-4CBC-BC5F-DD272684A15D}" type="doc">
      <dgm:prSet loTypeId="urn:microsoft.com/office/officeart/2005/8/layout/matrix1" loCatId="matrix" qsTypeId="urn:microsoft.com/office/officeart/2005/8/quickstyle/simple3" qsCatId="simple" csTypeId="urn:microsoft.com/office/officeart/2005/8/colors/colorful1#3" csCatId="colorful" phldr="1"/>
      <dgm:spPr/>
      <dgm:t>
        <a:bodyPr/>
        <a:lstStyle/>
        <a:p>
          <a:endParaRPr lang="ru-RU"/>
        </a:p>
      </dgm:t>
    </dgm:pt>
    <dgm:pt modelId="{CC947B66-15B9-48A8-9480-AE7693AA09E4}">
      <dgm:prSet phldrT="[Текст]" custT="1"/>
      <dgm:spPr>
        <a:solidFill>
          <a:srgbClr val="F2F2F2"/>
        </a:solidFill>
        <a:effectLst>
          <a:outerShdw blurRad="63500" sx="102000" sy="102000" algn="ctr" rotWithShape="0">
            <a:prstClr val="black">
              <a:alpha val="40000"/>
            </a:prstClr>
          </a:outerShdw>
        </a:effectLst>
        <a:scene3d>
          <a:camera prst="orthographicFront"/>
          <a:lightRig rig="flat" dir="t"/>
        </a:scene3d>
        <a:sp3d prstMaterial="dkEdge"/>
      </dgm:spPr>
      <dgm:t>
        <a:bodyPr tIns="540000"/>
        <a:lstStyle/>
        <a:p>
          <a:pPr algn="ctr">
            <a:lnSpc>
              <a:spcPts val="3100"/>
            </a:lnSpc>
          </a:pPr>
          <a:r>
            <a:rPr lang="ru-RU" sz="2800" b="1" kern="1200" dirty="0" smtClean="0">
              <a:solidFill>
                <a:schemeClr val="tx1"/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rPr>
            <a:t>Обеспечение  сбалансированности  местного  бюджета </a:t>
          </a:r>
        </a:p>
        <a:p>
          <a:pPr algn="ctr">
            <a:lnSpc>
              <a:spcPts val="3100"/>
            </a:lnSpc>
          </a:pPr>
          <a:endParaRPr lang="ru-RU" sz="2000" b="1" kern="1200" dirty="0" smtClean="0">
            <a:effectLst/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368A838-44B6-47CA-BB51-6B45FF21E131}" type="parTrans" cxnId="{57E906B0-F8E5-49F4-8035-4F800E135E6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2D4253E-CF59-4BB2-BFED-65538034E1AB}" type="sibTrans" cxnId="{57E906B0-F8E5-49F4-8035-4F800E135E6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A70AD7C-3630-4829-AB71-7F9AC6AF5969}">
      <dgm:prSet phldrT="[Текст]"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C237463-1CF0-4F1D-BD3F-460E3893A2C2}" type="parTrans" cxnId="{2037C083-19AB-4B69-A90E-29DA9D96A78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615F61F-E7D9-4417-8F47-662478E3D142}" type="sibTrans" cxnId="{2037C083-19AB-4B69-A90E-29DA9D96A78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7042359-5188-4169-BDF8-56224CDFFC0F}">
      <dgm:prSet phldrT="[Текст]"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2607668-B4F3-4366-8AA2-6FEEBECAD915}" type="parTrans" cxnId="{05C066DA-9419-4CD6-8B81-6F1395AABF87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E2F97EC-95DB-4F13-B126-05EC597A44C7}" type="sibTrans" cxnId="{05C066DA-9419-4CD6-8B81-6F1395AABF87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A64CCE0-EB19-477B-8561-BBD95E1A22DD}">
      <dgm:prSet phldrT="[Текст]"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4933332-23A9-4DDB-A410-EAF5A92FBEF2}" type="parTrans" cxnId="{DF0B43E1-545B-4917-90D3-9F5DA52BAA7B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9F63315-352F-43F9-81E6-6C7F43B8251E}" type="sibTrans" cxnId="{DF0B43E1-545B-4917-90D3-9F5DA52BAA7B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12E00DF-57BD-4116-BE0A-505A71909303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DFB18FC-E3CA-460D-85B9-0E0650827749}" type="parTrans" cxnId="{876ADFE3-EBF3-44C2-9136-4A395916CA16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D91296B-0C05-43B1-A6E8-2094B16145C1}" type="sibTrans" cxnId="{876ADFE3-EBF3-44C2-9136-4A395916CA16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C218AA6-384D-42A8-903F-DB7A80B5D474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9F73E24-DF49-4452-B34C-1156528488C4}" type="parTrans" cxnId="{B2BFBF35-E43D-43D3-9DAF-CB2FDFAD1D3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39187B4-99FB-4567-AE4E-7AF809C6B410}" type="sibTrans" cxnId="{B2BFBF35-E43D-43D3-9DAF-CB2FDFAD1D3E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55CA822-E1EE-4621-86BF-461DCAA5FD28}">
      <dgm:prSet custT="1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 tIns="216000"/>
        <a:lstStyle/>
        <a:p>
          <a:pPr algn="ctr">
            <a:lnSpc>
              <a:spcPts val="21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rPr>
            <a:t>Укрепление  налогового  потенциала  и совершенствование  налогового администрирования </a:t>
          </a:r>
          <a:endParaRPr lang="ru-RU" sz="2000" b="1" dirty="0" smtClean="0">
            <a:ln>
              <a:solidFill>
                <a:schemeClr val="tx1"/>
              </a:solidFill>
            </a:ln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E489E13-272A-4730-9C8F-1FCA0CFF3AA8}" type="parTrans" cxnId="{BE1E4A29-54FA-4D10-A86C-418520ED215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B0C9E1E3-420A-4462-B185-975C21F1A2FA}" type="sibTrans" cxnId="{BE1E4A29-54FA-4D10-A86C-418520ED215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3441EE8-2017-476A-81C6-A54C11EF028C}">
      <dgm:prSet custT="1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 tIns="72000" bIns="216000" anchor="b" anchorCtr="0"/>
        <a:lstStyle/>
        <a:p>
          <a:pPr>
            <a:lnSpc>
              <a:spcPts val="22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балансированность местного бюджета и  вовлечение  граждан  в  развитие общественной  инфраструктуры</a:t>
          </a:r>
          <a:endParaRPr lang="ru-RU" sz="2000" b="1" dirty="0">
            <a:ln>
              <a:solidFill>
                <a:schemeClr val="tx1"/>
              </a:solidFill>
            </a:ln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6E60DDF-7ED1-4AC4-8F2F-D8EDE395929C}" type="parTrans" cxnId="{029AAA74-3630-4919-9793-757954581174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BCA2FD3-8D5D-45A5-8740-16CB306CA884}" type="sibTrans" cxnId="{029AAA74-3630-4919-9793-757954581174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95DB19C-0C12-4582-A0D4-2B4205E87CFA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D6903DD-BEA6-4251-97E4-3005F416809C}" type="parTrans" cxnId="{3414B4AD-5DA3-4476-9F20-AE1CB5A76F1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94B6C62-38D1-4C01-B941-E089E546D38B}" type="sibTrans" cxnId="{3414B4AD-5DA3-4476-9F20-AE1CB5A76F13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6976215-1ACA-4C22-9F88-A9C02EFC56B1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8713E64-0185-4C9F-A413-7F0CE6C22283}" type="parTrans" cxnId="{96C1FAF2-9DF7-49D9-868E-96CDFEC1B282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1953759-CBB6-44E3-8484-253E00408249}" type="sibTrans" cxnId="{96C1FAF2-9DF7-49D9-868E-96CDFEC1B282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648CA99-3A73-4C20-A22C-F6CC15D3E603}">
      <dgm:prSet custT="1">
        <dgm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dgm:style>
      </dgm:prSet>
      <dgm:spPr/>
      <dgm:t>
        <a:bodyPr tIns="0" bIns="0" anchor="b" anchorCtr="0"/>
        <a:lstStyle/>
        <a:p>
          <a:pPr algn="ctr">
            <a:lnSpc>
              <a:spcPts val="27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беспечение  эффективности управления </a:t>
          </a:r>
        </a:p>
        <a:p>
          <a:pPr algn="ctr">
            <a:lnSpc>
              <a:spcPts val="2700"/>
            </a:lnSpc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униципальным  долгом</a:t>
          </a:r>
        </a:p>
        <a:p>
          <a:pPr algn="ctr">
            <a:lnSpc>
              <a:spcPts val="2700"/>
            </a:lnSpc>
            <a:spcAft>
              <a:spcPts val="0"/>
            </a:spcAft>
          </a:pPr>
          <a:endParaRPr lang="ru-RU" sz="2000" b="1" dirty="0">
            <a:ln>
              <a:solidFill>
                <a:schemeClr val="tx1"/>
              </a:solidFill>
            </a:ln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E369BC1-3395-4F54-998C-8A04EBD109E9}" type="parTrans" cxnId="{508B68EA-69C8-4945-B721-E74A8B1DA469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374814E-C0FE-4CC0-92A7-99BE6EB3568B}" type="sibTrans" cxnId="{508B68EA-69C8-4945-B721-E74A8B1DA469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984A5AA-79BF-4B43-AFF5-415A938EA219}">
      <dgm:prSet/>
      <dgm:spPr/>
      <dgm:t>
        <a:bodyPr/>
        <a:lstStyle/>
        <a:p>
          <a:endParaRPr lang="ru-RU" sz="20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84093C5-25D8-4B56-9C0B-82D057652E7B}" type="parTrans" cxnId="{69EA1EF6-A9B4-4C7D-AB65-4F944615A67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58518FE-84F5-4803-95DD-5B03A3AB4742}" type="sibTrans" cxnId="{69EA1EF6-A9B4-4C7D-AB65-4F944615A67D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6D9B637-390E-449A-BBF0-2F6977C1B9B4}">
      <dgm:prSet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 tIns="108000"/>
        <a:lstStyle/>
        <a:p>
          <a:pPr algn="ctr">
            <a:spcAft>
              <a:spcPts val="0"/>
            </a:spcAft>
          </a:pPr>
          <a:r>
            <a:rPr lang="ru-RU" sz="2000" b="1" dirty="0" smtClean="0">
              <a:ln>
                <a:solidFill>
                  <a:schemeClr val="tx1"/>
                </a:solidFill>
              </a:ln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центрация  финансовых ресурсов на  приоритетных  направлениях развития  округа</a:t>
          </a:r>
        </a:p>
      </dgm:t>
    </dgm:pt>
    <dgm:pt modelId="{2AACF2A5-99A2-43AF-A18B-1103C8D85E2B}" type="sibTrans" cxnId="{AC06195B-B6A4-45EC-AEBB-AC04BB8A13DA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57F7B1-1654-4198-984B-6BC613F1507E}" type="parTrans" cxnId="{AC06195B-B6A4-45EC-AEBB-AC04BB8A13DA}">
      <dgm:prSet/>
      <dgm:spPr/>
      <dgm:t>
        <a:bodyPr/>
        <a:lstStyle/>
        <a:p>
          <a:endParaRPr lang="ru-RU" sz="2000" b="1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A4144A4-97F2-4A81-A3A3-823B1662886B}" type="pres">
      <dgm:prSet presAssocID="{4B1890DB-9888-4CBC-BC5F-DD272684A15D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5FB41A3-B6EB-47F4-A657-09D75D4BCF30}" type="pres">
      <dgm:prSet presAssocID="{4B1890DB-9888-4CBC-BC5F-DD272684A15D}" presName="matrix" presStyleCnt="0"/>
      <dgm:spPr/>
      <dgm:t>
        <a:bodyPr/>
        <a:lstStyle/>
        <a:p>
          <a:endParaRPr lang="ru-RU"/>
        </a:p>
      </dgm:t>
    </dgm:pt>
    <dgm:pt modelId="{1210239F-2BF9-4A56-BF0A-C1B7B3AE79F7}" type="pres">
      <dgm:prSet presAssocID="{4B1890DB-9888-4CBC-BC5F-DD272684A15D}" presName="tile1" presStyleLbl="node1" presStyleIdx="0" presStyleCnt="4" custScaleX="98844" custScaleY="90130" custLinFactNeighborX="-1912" custLinFactNeighborY="-20728"/>
      <dgm:spPr/>
      <dgm:t>
        <a:bodyPr/>
        <a:lstStyle/>
        <a:p>
          <a:endParaRPr lang="ru-RU"/>
        </a:p>
      </dgm:t>
    </dgm:pt>
    <dgm:pt modelId="{AE7FDDB0-90D5-4E58-A384-2147B20CC614}" type="pres">
      <dgm:prSet presAssocID="{4B1890DB-9888-4CBC-BC5F-DD272684A15D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670D21-DAC3-4E4B-9156-853E9B87CE36}" type="pres">
      <dgm:prSet presAssocID="{4B1890DB-9888-4CBC-BC5F-DD272684A15D}" presName="tile2" presStyleLbl="node1" presStyleIdx="1" presStyleCnt="4" custScaleX="98579" custScaleY="96012" custLinFactNeighborX="269" custLinFactNeighborY="-1868"/>
      <dgm:spPr/>
      <dgm:t>
        <a:bodyPr/>
        <a:lstStyle/>
        <a:p>
          <a:endParaRPr lang="ru-RU"/>
        </a:p>
      </dgm:t>
    </dgm:pt>
    <dgm:pt modelId="{2878CCF8-1B7B-40FD-8443-994FBFD137A1}" type="pres">
      <dgm:prSet presAssocID="{4B1890DB-9888-4CBC-BC5F-DD272684A15D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474EFF-7B92-4B0D-A42B-B0F8DA65B6A0}" type="pres">
      <dgm:prSet presAssocID="{4B1890DB-9888-4CBC-BC5F-DD272684A15D}" presName="tile3" presStyleLbl="node1" presStyleIdx="2" presStyleCnt="4" custScaleX="99701" custScaleY="96515" custLinFactNeighborX="-670" custLinFactNeighborY="-5829"/>
      <dgm:spPr/>
      <dgm:t>
        <a:bodyPr/>
        <a:lstStyle/>
        <a:p>
          <a:endParaRPr lang="ru-RU"/>
        </a:p>
      </dgm:t>
    </dgm:pt>
    <dgm:pt modelId="{5F87DC02-A7FA-41D2-9EDB-94E4551153A4}" type="pres">
      <dgm:prSet presAssocID="{4B1890DB-9888-4CBC-BC5F-DD272684A15D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35E4D8-2E52-4849-9D3F-196F9725FC19}" type="pres">
      <dgm:prSet presAssocID="{4B1890DB-9888-4CBC-BC5F-DD272684A15D}" presName="tile4" presStyleLbl="node1" presStyleIdx="3" presStyleCnt="4" custScaleX="97935" custScaleY="91989" custLinFactNeighborX="1337" custLinFactNeighborY="-3180"/>
      <dgm:spPr/>
      <dgm:t>
        <a:bodyPr/>
        <a:lstStyle/>
        <a:p>
          <a:endParaRPr lang="ru-RU"/>
        </a:p>
      </dgm:t>
    </dgm:pt>
    <dgm:pt modelId="{87B48719-5162-4326-B105-EEA847884ABA}" type="pres">
      <dgm:prSet presAssocID="{4B1890DB-9888-4CBC-BC5F-DD272684A15D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21EB1F-F865-45EF-9EB2-A5044CB0255F}" type="pres">
      <dgm:prSet presAssocID="{4B1890DB-9888-4CBC-BC5F-DD272684A15D}" presName="centerTile" presStyleLbl="fgShp" presStyleIdx="0" presStyleCnt="1" custScaleX="195003" custScaleY="122744" custLinFactNeighborX="0" custLinFactNeighborY="-13255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57E906B0-F8E5-49F4-8035-4F800E135E6E}" srcId="{4B1890DB-9888-4CBC-BC5F-DD272684A15D}" destId="{CC947B66-15B9-48A8-9480-AE7693AA09E4}" srcOrd="0" destOrd="0" parTransId="{D368A838-44B6-47CA-BB51-6B45FF21E131}" sibTransId="{12D4253E-CF59-4BB2-BFED-65538034E1AB}"/>
    <dgm:cxn modelId="{69EA1EF6-A9B4-4C7D-AB65-4F944615A67D}" srcId="{CC947B66-15B9-48A8-9480-AE7693AA09E4}" destId="{2984A5AA-79BF-4B43-AFF5-415A938EA219}" srcOrd="4" destOrd="0" parTransId="{584093C5-25D8-4B56-9C0B-82D057652E7B}" sibTransId="{E58518FE-84F5-4803-95DD-5B03A3AB4742}"/>
    <dgm:cxn modelId="{1464B9FF-FD58-4758-9ADE-104BFC1E90E8}" type="presOf" srcId="{C648CA99-3A73-4C20-A22C-F6CC15D3E603}" destId="{BD35E4D8-2E52-4849-9D3F-196F9725FC19}" srcOrd="0" destOrd="0" presId="urn:microsoft.com/office/officeart/2005/8/layout/matrix1"/>
    <dgm:cxn modelId="{AC06195B-B6A4-45EC-AEBB-AC04BB8A13DA}" srcId="{CC947B66-15B9-48A8-9480-AE7693AA09E4}" destId="{C6D9B637-390E-449A-BBF0-2F6977C1B9B4}" srcOrd="1" destOrd="0" parTransId="{E457F7B1-1654-4198-984B-6BC613F1507E}" sibTransId="{2AACF2A5-99A2-43AF-A18B-1103C8D85E2B}"/>
    <dgm:cxn modelId="{876ADFE3-EBF3-44C2-9136-4A395916CA16}" srcId="{4B1890DB-9888-4CBC-BC5F-DD272684A15D}" destId="{D12E00DF-57BD-4116-BE0A-505A71909303}" srcOrd="4" destOrd="0" parTransId="{0DFB18FC-E3CA-460D-85B9-0E0650827749}" sibTransId="{DD91296B-0C05-43B1-A6E8-2094B16145C1}"/>
    <dgm:cxn modelId="{508C34ED-A6ED-46E4-B74A-63D569886AB6}" type="presOf" srcId="{93441EE8-2017-476A-81C6-A54C11EF028C}" destId="{2A474EFF-7B92-4B0D-A42B-B0F8DA65B6A0}" srcOrd="0" destOrd="0" presId="urn:microsoft.com/office/officeart/2005/8/layout/matrix1"/>
    <dgm:cxn modelId="{96C1FAF2-9DF7-49D9-868E-96CDFEC1B282}" srcId="{CC947B66-15B9-48A8-9480-AE7693AA09E4}" destId="{A6976215-1ACA-4C22-9F88-A9C02EFC56B1}" srcOrd="6" destOrd="0" parTransId="{F8713E64-0185-4C9F-A413-7F0CE6C22283}" sibTransId="{41953759-CBB6-44E3-8484-253E00408249}"/>
    <dgm:cxn modelId="{9D9BF460-E562-4FC1-ABB7-D641359D5424}" type="presOf" srcId="{C6D9B637-390E-449A-BBF0-2F6977C1B9B4}" destId="{B3670D21-DAC3-4E4B-9156-853E9B87CE36}" srcOrd="0" destOrd="0" presId="urn:microsoft.com/office/officeart/2005/8/layout/matrix1"/>
    <dgm:cxn modelId="{3414B4AD-5DA3-4476-9F20-AE1CB5A76F13}" srcId="{CC947B66-15B9-48A8-9480-AE7693AA09E4}" destId="{195DB19C-0C12-4582-A0D4-2B4205E87CFA}" srcOrd="5" destOrd="0" parTransId="{7D6903DD-BEA6-4251-97E4-3005F416809C}" sibTransId="{594B6C62-38D1-4C01-B941-E089E546D38B}"/>
    <dgm:cxn modelId="{B2BFBF35-E43D-43D3-9DAF-CB2FDFAD1D3E}" srcId="{4B1890DB-9888-4CBC-BC5F-DD272684A15D}" destId="{AC218AA6-384D-42A8-903F-DB7A80B5D474}" srcOrd="5" destOrd="0" parTransId="{A9F73E24-DF49-4452-B34C-1156528488C4}" sibTransId="{639187B4-99FB-4567-AE4E-7AF809C6B410}"/>
    <dgm:cxn modelId="{508B68EA-69C8-4945-B721-E74A8B1DA469}" srcId="{CC947B66-15B9-48A8-9480-AE7693AA09E4}" destId="{C648CA99-3A73-4C20-A22C-F6CC15D3E603}" srcOrd="3" destOrd="0" parTransId="{CE369BC1-3395-4F54-998C-8A04EBD109E9}" sibTransId="{7374814E-C0FE-4CC0-92A7-99BE6EB3568B}"/>
    <dgm:cxn modelId="{BE1E4A29-54FA-4D10-A86C-418520ED2153}" srcId="{CC947B66-15B9-48A8-9480-AE7693AA09E4}" destId="{155CA822-E1EE-4621-86BF-461DCAA5FD28}" srcOrd="0" destOrd="0" parTransId="{EE489E13-272A-4730-9C8F-1FCA0CFF3AA8}" sibTransId="{B0C9E1E3-420A-4462-B185-975C21F1A2FA}"/>
    <dgm:cxn modelId="{05C066DA-9419-4CD6-8B81-6F1395AABF87}" srcId="{4B1890DB-9888-4CBC-BC5F-DD272684A15D}" destId="{E7042359-5188-4169-BDF8-56224CDFFC0F}" srcOrd="2" destOrd="0" parTransId="{D2607668-B4F3-4366-8AA2-6FEEBECAD915}" sibTransId="{0E2F97EC-95DB-4F13-B126-05EC597A44C7}"/>
    <dgm:cxn modelId="{D61168AB-A39B-4807-8046-321F73343FFD}" type="presOf" srcId="{4B1890DB-9888-4CBC-BC5F-DD272684A15D}" destId="{DA4144A4-97F2-4A81-A3A3-823B1662886B}" srcOrd="0" destOrd="0" presId="urn:microsoft.com/office/officeart/2005/8/layout/matrix1"/>
    <dgm:cxn modelId="{7F854F8D-8BCA-4265-9BE0-B219482E16B2}" type="presOf" srcId="{155CA822-E1EE-4621-86BF-461DCAA5FD28}" destId="{AE7FDDB0-90D5-4E58-A384-2147B20CC614}" srcOrd="1" destOrd="0" presId="urn:microsoft.com/office/officeart/2005/8/layout/matrix1"/>
    <dgm:cxn modelId="{2037C083-19AB-4B69-A90E-29DA9D96A78D}" srcId="{4B1890DB-9888-4CBC-BC5F-DD272684A15D}" destId="{6A70AD7C-3630-4829-AB71-7F9AC6AF5969}" srcOrd="3" destOrd="0" parTransId="{3C237463-1CF0-4F1D-BD3F-460E3893A2C2}" sibTransId="{0615F61F-E7D9-4417-8F47-662478E3D142}"/>
    <dgm:cxn modelId="{DF0B43E1-545B-4917-90D3-9F5DA52BAA7B}" srcId="{4B1890DB-9888-4CBC-BC5F-DD272684A15D}" destId="{DA64CCE0-EB19-477B-8561-BBD95E1A22DD}" srcOrd="1" destOrd="0" parTransId="{64933332-23A9-4DDB-A410-EAF5A92FBEF2}" sibTransId="{69F63315-352F-43F9-81E6-6C7F43B8251E}"/>
    <dgm:cxn modelId="{029AAA74-3630-4919-9793-757954581174}" srcId="{CC947B66-15B9-48A8-9480-AE7693AA09E4}" destId="{93441EE8-2017-476A-81C6-A54C11EF028C}" srcOrd="2" destOrd="0" parTransId="{86E60DDF-7ED1-4AC4-8F2F-D8EDE395929C}" sibTransId="{9BCA2FD3-8D5D-45A5-8740-16CB306CA884}"/>
    <dgm:cxn modelId="{1413272B-DA6E-4070-9D12-7E63E4273379}" type="presOf" srcId="{155CA822-E1EE-4621-86BF-461DCAA5FD28}" destId="{1210239F-2BF9-4A56-BF0A-C1B7B3AE79F7}" srcOrd="0" destOrd="0" presId="urn:microsoft.com/office/officeart/2005/8/layout/matrix1"/>
    <dgm:cxn modelId="{30BAD562-EDB4-4376-8B4F-5083CCB2AEAF}" type="presOf" srcId="{C648CA99-3A73-4C20-A22C-F6CC15D3E603}" destId="{87B48719-5162-4326-B105-EEA847884ABA}" srcOrd="1" destOrd="0" presId="urn:microsoft.com/office/officeart/2005/8/layout/matrix1"/>
    <dgm:cxn modelId="{3F9F936B-D7DA-4942-9893-381624D29E9F}" type="presOf" srcId="{93441EE8-2017-476A-81C6-A54C11EF028C}" destId="{5F87DC02-A7FA-41D2-9EDB-94E4551153A4}" srcOrd="1" destOrd="0" presId="urn:microsoft.com/office/officeart/2005/8/layout/matrix1"/>
    <dgm:cxn modelId="{754797AE-79BC-4D6C-B0E7-8A399564C242}" type="presOf" srcId="{C6D9B637-390E-449A-BBF0-2F6977C1B9B4}" destId="{2878CCF8-1B7B-40FD-8443-994FBFD137A1}" srcOrd="1" destOrd="0" presId="urn:microsoft.com/office/officeart/2005/8/layout/matrix1"/>
    <dgm:cxn modelId="{39CAE76F-556A-49E4-8CFC-A6FA43907381}" type="presOf" srcId="{CC947B66-15B9-48A8-9480-AE7693AA09E4}" destId="{5421EB1F-F865-45EF-9EB2-A5044CB0255F}" srcOrd="0" destOrd="0" presId="urn:microsoft.com/office/officeart/2005/8/layout/matrix1"/>
    <dgm:cxn modelId="{D7459B4B-3AF5-489C-9F4C-A74C0AF979EC}" type="presParOf" srcId="{DA4144A4-97F2-4A81-A3A3-823B1662886B}" destId="{35FB41A3-B6EB-47F4-A657-09D75D4BCF30}" srcOrd="0" destOrd="0" presId="urn:microsoft.com/office/officeart/2005/8/layout/matrix1"/>
    <dgm:cxn modelId="{98184705-C0E3-4B4A-8149-704BB0A88E93}" type="presParOf" srcId="{35FB41A3-B6EB-47F4-A657-09D75D4BCF30}" destId="{1210239F-2BF9-4A56-BF0A-C1B7B3AE79F7}" srcOrd="0" destOrd="0" presId="urn:microsoft.com/office/officeart/2005/8/layout/matrix1"/>
    <dgm:cxn modelId="{3BBD2F6E-FC33-4374-AD72-6E0282C06F51}" type="presParOf" srcId="{35FB41A3-B6EB-47F4-A657-09D75D4BCF30}" destId="{AE7FDDB0-90D5-4E58-A384-2147B20CC614}" srcOrd="1" destOrd="0" presId="urn:microsoft.com/office/officeart/2005/8/layout/matrix1"/>
    <dgm:cxn modelId="{EA7E9585-31A4-4C4B-B13C-3CD623821A8D}" type="presParOf" srcId="{35FB41A3-B6EB-47F4-A657-09D75D4BCF30}" destId="{B3670D21-DAC3-4E4B-9156-853E9B87CE36}" srcOrd="2" destOrd="0" presId="urn:microsoft.com/office/officeart/2005/8/layout/matrix1"/>
    <dgm:cxn modelId="{D005E8C6-EB10-44D4-9460-F6A3AF0ECE75}" type="presParOf" srcId="{35FB41A3-B6EB-47F4-A657-09D75D4BCF30}" destId="{2878CCF8-1B7B-40FD-8443-994FBFD137A1}" srcOrd="3" destOrd="0" presId="urn:microsoft.com/office/officeart/2005/8/layout/matrix1"/>
    <dgm:cxn modelId="{18EBC2ED-16AE-4E05-8E3A-36574E032678}" type="presParOf" srcId="{35FB41A3-B6EB-47F4-A657-09D75D4BCF30}" destId="{2A474EFF-7B92-4B0D-A42B-B0F8DA65B6A0}" srcOrd="4" destOrd="0" presId="urn:microsoft.com/office/officeart/2005/8/layout/matrix1"/>
    <dgm:cxn modelId="{7B174BC4-CBF8-4572-B97C-EE23EA30719E}" type="presParOf" srcId="{35FB41A3-B6EB-47F4-A657-09D75D4BCF30}" destId="{5F87DC02-A7FA-41D2-9EDB-94E4551153A4}" srcOrd="5" destOrd="0" presId="urn:microsoft.com/office/officeart/2005/8/layout/matrix1"/>
    <dgm:cxn modelId="{800906A9-49CA-45A7-9F9C-EAC2EC1A0D19}" type="presParOf" srcId="{35FB41A3-B6EB-47F4-A657-09D75D4BCF30}" destId="{BD35E4D8-2E52-4849-9D3F-196F9725FC19}" srcOrd="6" destOrd="0" presId="urn:microsoft.com/office/officeart/2005/8/layout/matrix1"/>
    <dgm:cxn modelId="{01E53685-3791-42B0-9EF8-05055E5D3439}" type="presParOf" srcId="{35FB41A3-B6EB-47F4-A657-09D75D4BCF30}" destId="{87B48719-5162-4326-B105-EEA847884ABA}" srcOrd="7" destOrd="0" presId="urn:microsoft.com/office/officeart/2005/8/layout/matrix1"/>
    <dgm:cxn modelId="{4E794907-465D-4249-992D-BD42DA68454C}" type="presParOf" srcId="{DA4144A4-97F2-4A81-A3A3-823B1662886B}" destId="{5421EB1F-F865-45EF-9EB2-A5044CB0255F}" srcOrd="1" destOrd="0" presId="urn:microsoft.com/office/officeart/2005/8/layout/matrix1"/>
  </dgm:cxnLst>
  <dgm:bg>
    <a:noFill/>
  </dgm:bg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461D0CC-C017-41A9-96CC-3E97AE85B071}" type="doc">
      <dgm:prSet loTypeId="urn:microsoft.com/office/officeart/2005/8/layout/radial4" loCatId="relationship" qsTypeId="urn:microsoft.com/office/officeart/2005/8/quickstyle/3d2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0905984E-6674-44B6-807B-C776785366F4}">
      <dgm:prSet phldrT="[Текст]" custT="1"/>
      <dgm:spPr/>
      <dgm:t>
        <a:bodyPr/>
        <a:lstStyle/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 098,5 </a:t>
          </a:r>
        </a:p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 руб.</a:t>
          </a:r>
          <a:endParaRPr lang="ru-RU" sz="2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C6A1F71-E206-47AC-81B8-A48E85FAFF17}" type="par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5030A20-FE9F-433E-B676-E38DDD8CF324}" type="sib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34FF50E-9342-4C2A-BE2A-71BAED4A836A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логовые и неналоговые доходы</a:t>
          </a:r>
        </a:p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3,5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74EBCA-3163-4F6E-8F19-D722F52FC64D}" type="par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4F39F5-8842-4FC0-B891-B662FD28F319}" type="sib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5F50BB0-53CD-488A-9BDD-DDF826C72743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тация</a:t>
          </a:r>
        </a:p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17,6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DBADBB9-9DDE-4B82-87E7-EDBE7A6ED50E}" type="par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39B3A1D-1CED-4436-9065-B49008130E51}" type="sib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28BBCB6-5F9C-41E3-8C87-B03A9DB99361}">
      <dgm:prSet custT="1"/>
      <dgm:spPr/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убсидии 77,4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181A1D-77A4-4402-8C64-E3F764F57BF9}" type="parTrans" cxnId="{A4224993-973D-447D-A2B8-D34A31C4BE50}">
      <dgm:prSet/>
      <dgm:spPr/>
      <dgm:t>
        <a:bodyPr/>
        <a:lstStyle/>
        <a:p>
          <a:endParaRPr lang="ru-RU"/>
        </a:p>
      </dgm:t>
    </dgm:pt>
    <dgm:pt modelId="{B52D57C3-3200-4180-825E-30807DC33BBD}" type="sibTrans" cxnId="{A4224993-973D-447D-A2B8-D34A31C4BE50}">
      <dgm:prSet/>
      <dgm:spPr/>
      <dgm:t>
        <a:bodyPr/>
        <a:lstStyle/>
        <a:p>
          <a:endParaRPr lang="ru-RU"/>
        </a:p>
      </dgm:t>
    </dgm:pt>
    <dgm:pt modelId="{587FFEB3-216A-4141-B2DF-10E884A2BE79}" type="pres">
      <dgm:prSet presAssocID="{B461D0CC-C017-41A9-96CC-3E97AE85B071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3C0F39B-2473-4411-A634-A2F31A79756E}" type="pres">
      <dgm:prSet presAssocID="{0905984E-6674-44B6-807B-C776785366F4}" presName="centerShape" presStyleLbl="node0" presStyleIdx="0" presStyleCnt="1" custScaleX="167944" custScaleY="167600" custLinFactNeighborX="-135" custLinFactNeighborY="-45535"/>
      <dgm:spPr/>
      <dgm:t>
        <a:bodyPr/>
        <a:lstStyle/>
        <a:p>
          <a:endParaRPr lang="ru-RU"/>
        </a:p>
      </dgm:t>
    </dgm:pt>
    <dgm:pt modelId="{DE00D57F-2E2F-44C2-A626-C6415F560AC0}" type="pres">
      <dgm:prSet presAssocID="{E374EBCA-3163-4F6E-8F19-D722F52FC64D}" presName="parTrans" presStyleLbl="bgSibTrans2D1" presStyleIdx="0" presStyleCnt="3" custAng="8312822" custFlipHor="1" custScaleX="72080" custLinFactY="-47333" custLinFactNeighborX="-11726" custLinFactNeighborY="-100000"/>
      <dgm:spPr/>
      <dgm:t>
        <a:bodyPr/>
        <a:lstStyle/>
        <a:p>
          <a:endParaRPr lang="ru-RU"/>
        </a:p>
      </dgm:t>
    </dgm:pt>
    <dgm:pt modelId="{E4F13324-354D-433F-B019-D3D5303100E5}" type="pres">
      <dgm:prSet presAssocID="{334FF50E-9342-4C2A-BE2A-71BAED4A836A}" presName="node" presStyleLbl="node1" presStyleIdx="0" presStyleCnt="3" custScaleX="115561" custScaleY="123284" custRadScaleRad="100112" custRadScaleInc="-1210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9DFE2C-0AB5-4259-B765-58E014A7780E}" type="pres">
      <dgm:prSet presAssocID="{1DBADBB9-9DDE-4B82-87E7-EDBE7A6ED50E}" presName="parTrans" presStyleLbl="bgSibTrans2D1" presStyleIdx="1" presStyleCnt="3" custAng="10890105" custScaleX="45449" custLinFactNeighborX="-4931" custLinFactNeighborY="-93920"/>
      <dgm:spPr/>
      <dgm:t>
        <a:bodyPr/>
        <a:lstStyle/>
        <a:p>
          <a:endParaRPr lang="ru-RU"/>
        </a:p>
      </dgm:t>
    </dgm:pt>
    <dgm:pt modelId="{471E0626-5096-458C-89C3-D64160C94EFF}" type="pres">
      <dgm:prSet presAssocID="{C5F50BB0-53CD-488A-9BDD-DDF826C72743}" presName="node" presStyleLbl="node1" presStyleIdx="1" presStyleCnt="3" custScaleX="102833" custScaleY="124005" custRadScaleRad="50360" custRadScaleInc="2934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A550AE-2F7B-4516-B543-970D409E5DD7}" type="pres">
      <dgm:prSet presAssocID="{D0181A1D-77A4-4402-8C64-E3F764F57BF9}" presName="parTrans" presStyleLbl="bgSibTrans2D1" presStyleIdx="2" presStyleCnt="3" custAng="11181001" custScaleX="66871" custLinFactY="-43737" custLinFactNeighborX="5901" custLinFactNeighborY="-100000"/>
      <dgm:spPr/>
      <dgm:t>
        <a:bodyPr/>
        <a:lstStyle/>
        <a:p>
          <a:endParaRPr lang="ru-RU"/>
        </a:p>
      </dgm:t>
    </dgm:pt>
    <dgm:pt modelId="{7D20BC81-4B43-4B66-A854-FFBD87AC01EA}" type="pres">
      <dgm:prSet presAssocID="{128BBCB6-5F9C-41E3-8C87-B03A9DB99361}" presName="node" presStyleLbl="node1" presStyleIdx="2" presStyleCnt="3" custScaleX="102860" custScaleY="121790" custRadScaleRad="93789" custRadScaleInc="1130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AB339E0-A48B-4241-BB58-66386E5D1615}" type="presOf" srcId="{1DBADBB9-9DDE-4B82-87E7-EDBE7A6ED50E}" destId="{159DFE2C-0AB5-4259-B765-58E014A7780E}" srcOrd="0" destOrd="0" presId="urn:microsoft.com/office/officeart/2005/8/layout/radial4"/>
    <dgm:cxn modelId="{BF4FA162-58E8-436B-821F-2D8684A03387}" srcId="{0905984E-6674-44B6-807B-C776785366F4}" destId="{C5F50BB0-53CD-488A-9BDD-DDF826C72743}" srcOrd="1" destOrd="0" parTransId="{1DBADBB9-9DDE-4B82-87E7-EDBE7A6ED50E}" sibTransId="{939B3A1D-1CED-4436-9065-B49008130E51}"/>
    <dgm:cxn modelId="{735E0AC0-5D8A-4D6B-AE36-E47936F7FEFE}" type="presOf" srcId="{E374EBCA-3163-4F6E-8F19-D722F52FC64D}" destId="{DE00D57F-2E2F-44C2-A626-C6415F560AC0}" srcOrd="0" destOrd="0" presId="urn:microsoft.com/office/officeart/2005/8/layout/radial4"/>
    <dgm:cxn modelId="{B3AA6A5C-5EB8-47F5-96FF-C7D374E971E8}" srcId="{0905984E-6674-44B6-807B-C776785366F4}" destId="{334FF50E-9342-4C2A-BE2A-71BAED4A836A}" srcOrd="0" destOrd="0" parTransId="{E374EBCA-3163-4F6E-8F19-D722F52FC64D}" sibTransId="{5C4F39F5-8842-4FC0-B891-B662FD28F319}"/>
    <dgm:cxn modelId="{E6AF99E9-227D-448A-AD8C-7A5D66493DA6}" type="presOf" srcId="{0905984E-6674-44B6-807B-C776785366F4}" destId="{63C0F39B-2473-4411-A634-A2F31A79756E}" srcOrd="0" destOrd="0" presId="urn:microsoft.com/office/officeart/2005/8/layout/radial4"/>
    <dgm:cxn modelId="{AE9E8759-38BF-4D80-8BA0-7A2BEE8BC8EF}" type="presOf" srcId="{B461D0CC-C017-41A9-96CC-3E97AE85B071}" destId="{587FFEB3-216A-4141-B2DF-10E884A2BE79}" srcOrd="0" destOrd="0" presId="urn:microsoft.com/office/officeart/2005/8/layout/radial4"/>
    <dgm:cxn modelId="{A93E476D-5890-4C75-83AB-664F80C9871C}" type="presOf" srcId="{128BBCB6-5F9C-41E3-8C87-B03A9DB99361}" destId="{7D20BC81-4B43-4B66-A854-FFBD87AC01EA}" srcOrd="0" destOrd="0" presId="urn:microsoft.com/office/officeart/2005/8/layout/radial4"/>
    <dgm:cxn modelId="{F11CEEC9-3D14-41B0-AEDD-0047BE555171}" type="presOf" srcId="{C5F50BB0-53CD-488A-9BDD-DDF826C72743}" destId="{471E0626-5096-458C-89C3-D64160C94EFF}" srcOrd="0" destOrd="0" presId="urn:microsoft.com/office/officeart/2005/8/layout/radial4"/>
    <dgm:cxn modelId="{D009D1C8-9C05-4C90-A31F-3AC75350945A}" type="presOf" srcId="{D0181A1D-77A4-4402-8C64-E3F764F57BF9}" destId="{C1A550AE-2F7B-4516-B543-970D409E5DD7}" srcOrd="0" destOrd="0" presId="urn:microsoft.com/office/officeart/2005/8/layout/radial4"/>
    <dgm:cxn modelId="{3B0F02D6-7F9B-41E4-A80B-AE66FC8943BC}" type="presOf" srcId="{334FF50E-9342-4C2A-BE2A-71BAED4A836A}" destId="{E4F13324-354D-433F-B019-D3D5303100E5}" srcOrd="0" destOrd="0" presId="urn:microsoft.com/office/officeart/2005/8/layout/radial4"/>
    <dgm:cxn modelId="{A4224993-973D-447D-A2B8-D34A31C4BE50}" srcId="{0905984E-6674-44B6-807B-C776785366F4}" destId="{128BBCB6-5F9C-41E3-8C87-B03A9DB99361}" srcOrd="2" destOrd="0" parTransId="{D0181A1D-77A4-4402-8C64-E3F764F57BF9}" sibTransId="{B52D57C3-3200-4180-825E-30807DC33BBD}"/>
    <dgm:cxn modelId="{EDBA0A7E-8245-47EB-9D2D-3102DA6443A5}" srcId="{B461D0CC-C017-41A9-96CC-3E97AE85B071}" destId="{0905984E-6674-44B6-807B-C776785366F4}" srcOrd="0" destOrd="0" parTransId="{1C6A1F71-E206-47AC-81B8-A48E85FAFF17}" sibTransId="{65030A20-FE9F-433E-B676-E38DDD8CF324}"/>
    <dgm:cxn modelId="{3FAD9704-C519-487D-8B43-73A5BC0CB836}" type="presParOf" srcId="{587FFEB3-216A-4141-B2DF-10E884A2BE79}" destId="{63C0F39B-2473-4411-A634-A2F31A79756E}" srcOrd="0" destOrd="0" presId="urn:microsoft.com/office/officeart/2005/8/layout/radial4"/>
    <dgm:cxn modelId="{087D6A81-5083-4FD6-8EF7-C6814A624F79}" type="presParOf" srcId="{587FFEB3-216A-4141-B2DF-10E884A2BE79}" destId="{DE00D57F-2E2F-44C2-A626-C6415F560AC0}" srcOrd="1" destOrd="0" presId="urn:microsoft.com/office/officeart/2005/8/layout/radial4"/>
    <dgm:cxn modelId="{8ED738C1-89B7-48ED-B7A4-3B7E034ED6F1}" type="presParOf" srcId="{587FFEB3-216A-4141-B2DF-10E884A2BE79}" destId="{E4F13324-354D-433F-B019-D3D5303100E5}" srcOrd="2" destOrd="0" presId="urn:microsoft.com/office/officeart/2005/8/layout/radial4"/>
    <dgm:cxn modelId="{8DA4F4C5-7F1F-44E2-8A65-81C287CD1650}" type="presParOf" srcId="{587FFEB3-216A-4141-B2DF-10E884A2BE79}" destId="{159DFE2C-0AB5-4259-B765-58E014A7780E}" srcOrd="3" destOrd="0" presId="urn:microsoft.com/office/officeart/2005/8/layout/radial4"/>
    <dgm:cxn modelId="{C51CAAF3-FC74-4BC0-9CF1-6202BA267E8E}" type="presParOf" srcId="{587FFEB3-216A-4141-B2DF-10E884A2BE79}" destId="{471E0626-5096-458C-89C3-D64160C94EFF}" srcOrd="4" destOrd="0" presId="urn:microsoft.com/office/officeart/2005/8/layout/radial4"/>
    <dgm:cxn modelId="{31D0E2D2-F95F-4369-9290-39A49D915341}" type="presParOf" srcId="{587FFEB3-216A-4141-B2DF-10E884A2BE79}" destId="{C1A550AE-2F7B-4516-B543-970D409E5DD7}" srcOrd="5" destOrd="0" presId="urn:microsoft.com/office/officeart/2005/8/layout/radial4"/>
    <dgm:cxn modelId="{77FB77F3-BC1E-43F2-88E5-7EED2F6272B1}" type="presParOf" srcId="{587FFEB3-216A-4141-B2DF-10E884A2BE79}" destId="{7D20BC81-4B43-4B66-A854-FFBD87AC01EA}" srcOrd="6" destOrd="0" presId="urn:microsoft.com/office/officeart/2005/8/layout/radial4"/>
  </dgm:cxnLst>
  <dgm:bg/>
  <dgm:whole/>
  <dgm:extLst>
    <a:ext uri="http://schemas.microsoft.com/office/drawing/2008/diagram">
      <dsp:dataModelExt xmlns=""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461D0CC-C017-41A9-96CC-3E97AE85B071}" type="doc">
      <dgm:prSet loTypeId="urn:microsoft.com/office/officeart/2005/8/layout/radial4" loCatId="relationship" qsTypeId="urn:microsoft.com/office/officeart/2005/8/quickstyle/3d2" qsCatId="3D" csTypeId="urn:microsoft.com/office/officeart/2005/8/colors/colorful1#1" csCatId="colorful" phldr="1"/>
      <dgm:spPr/>
      <dgm:t>
        <a:bodyPr/>
        <a:lstStyle/>
        <a:p>
          <a:endParaRPr lang="ru-RU"/>
        </a:p>
      </dgm:t>
    </dgm:pt>
    <dgm:pt modelId="{0905984E-6674-44B6-807B-C776785366F4}">
      <dgm:prSet phldrT="[Текст]" custT="1"/>
      <dgm:spPr/>
      <dgm:t>
        <a:bodyPr/>
        <a:lstStyle/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 183,3</a:t>
          </a:r>
        </a:p>
        <a:p>
          <a:r>
            <a:rPr lang="ru-RU" sz="2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 руб.</a:t>
          </a:r>
          <a:endParaRPr lang="ru-RU" sz="2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C6A1F71-E206-47AC-81B8-A48E85FAFF17}" type="par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5030A20-FE9F-433E-B676-E38DDD8CF324}" type="sibTrans" cxnId="{EDBA0A7E-8245-47EB-9D2D-3102DA6443A5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34FF50E-9342-4C2A-BE2A-71BAED4A836A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логовые и неналоговые доходы</a:t>
          </a:r>
        </a:p>
        <a:p>
          <a:r>
            <a:rPr lang="ru-RU" sz="180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46,3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74EBCA-3163-4F6E-8F19-D722F52FC64D}" type="par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4F39F5-8842-4FC0-B891-B662FD28F319}" type="sibTrans" cxnId="{B3AA6A5C-5EB8-47F5-96FF-C7D374E971E8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5F50BB0-53CD-488A-9BDD-DDF826C72743}">
      <dgm:prSet phldrT="[Текст]" custT="1"/>
      <dgm:spPr/>
      <dgm:t>
        <a:bodyPr/>
        <a:lstStyle/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тация</a:t>
          </a:r>
        </a:p>
        <a:p>
          <a:r>
            <a:rPr lang="ru-RU" sz="1800" dirty="0" smtClean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50,5</a:t>
          </a:r>
          <a:endParaRPr lang="ru-RU" sz="1800" dirty="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DBADBB9-9DDE-4B82-87E7-EDBE7A6ED50E}" type="par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39B3A1D-1CED-4436-9065-B49008130E51}" type="sibTrans" cxnId="{BF4FA162-58E8-436B-821F-2D8684A03387}">
      <dgm:prSet/>
      <dgm:spPr/>
      <dgm:t>
        <a:bodyPr/>
        <a:lstStyle/>
        <a:p>
          <a:endParaRPr lang="ru-RU" sz="2000">
            <a:solidFill>
              <a:schemeClr val="bg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28BBCB6-5F9C-41E3-8C87-B03A9DB99361}">
      <dgm:prSet custT="1"/>
      <dgm:spPr/>
      <dgm:t>
        <a:bodyPr/>
        <a:lstStyle/>
        <a:p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убсидии 186,5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0181A1D-77A4-4402-8C64-E3F764F57BF9}" type="parTrans" cxnId="{A4224993-973D-447D-A2B8-D34A31C4BE50}">
      <dgm:prSet/>
      <dgm:spPr/>
      <dgm:t>
        <a:bodyPr/>
        <a:lstStyle/>
        <a:p>
          <a:endParaRPr lang="ru-RU"/>
        </a:p>
      </dgm:t>
    </dgm:pt>
    <dgm:pt modelId="{B52D57C3-3200-4180-825E-30807DC33BBD}" type="sibTrans" cxnId="{A4224993-973D-447D-A2B8-D34A31C4BE50}">
      <dgm:prSet/>
      <dgm:spPr/>
      <dgm:t>
        <a:bodyPr/>
        <a:lstStyle/>
        <a:p>
          <a:endParaRPr lang="ru-RU"/>
        </a:p>
      </dgm:t>
    </dgm:pt>
    <dgm:pt modelId="{587FFEB3-216A-4141-B2DF-10E884A2BE79}" type="pres">
      <dgm:prSet presAssocID="{B461D0CC-C017-41A9-96CC-3E97AE85B071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3C0F39B-2473-4411-A634-A2F31A79756E}" type="pres">
      <dgm:prSet presAssocID="{0905984E-6674-44B6-807B-C776785366F4}" presName="centerShape" presStyleLbl="node0" presStyleIdx="0" presStyleCnt="1" custScaleX="167944" custScaleY="167600" custLinFactNeighborX="-135" custLinFactNeighborY="-45535"/>
      <dgm:spPr/>
      <dgm:t>
        <a:bodyPr/>
        <a:lstStyle/>
        <a:p>
          <a:endParaRPr lang="ru-RU"/>
        </a:p>
      </dgm:t>
    </dgm:pt>
    <dgm:pt modelId="{DE00D57F-2E2F-44C2-A626-C6415F560AC0}" type="pres">
      <dgm:prSet presAssocID="{E374EBCA-3163-4F6E-8F19-D722F52FC64D}" presName="parTrans" presStyleLbl="bgSibTrans2D1" presStyleIdx="0" presStyleCnt="3" custAng="8312822" custFlipHor="1" custScaleX="72080" custLinFactY="-47333" custLinFactNeighborX="-11726" custLinFactNeighborY="-100000"/>
      <dgm:spPr/>
      <dgm:t>
        <a:bodyPr/>
        <a:lstStyle/>
        <a:p>
          <a:endParaRPr lang="ru-RU"/>
        </a:p>
      </dgm:t>
    </dgm:pt>
    <dgm:pt modelId="{E4F13324-354D-433F-B019-D3D5303100E5}" type="pres">
      <dgm:prSet presAssocID="{334FF50E-9342-4C2A-BE2A-71BAED4A836A}" presName="node" presStyleLbl="node1" presStyleIdx="0" presStyleCnt="3" custScaleX="115561" custScaleY="123284" custRadScaleRad="100112" custRadScaleInc="-1210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9DFE2C-0AB5-4259-B765-58E014A7780E}" type="pres">
      <dgm:prSet presAssocID="{1DBADBB9-9DDE-4B82-87E7-EDBE7A6ED50E}" presName="parTrans" presStyleLbl="bgSibTrans2D1" presStyleIdx="1" presStyleCnt="3" custAng="10890105" custScaleX="45449" custLinFactNeighborX="-4931" custLinFactNeighborY="-93920"/>
      <dgm:spPr/>
      <dgm:t>
        <a:bodyPr/>
        <a:lstStyle/>
        <a:p>
          <a:endParaRPr lang="ru-RU"/>
        </a:p>
      </dgm:t>
    </dgm:pt>
    <dgm:pt modelId="{471E0626-5096-458C-89C3-D64160C94EFF}" type="pres">
      <dgm:prSet presAssocID="{C5F50BB0-53CD-488A-9BDD-DDF826C72743}" presName="node" presStyleLbl="node1" presStyleIdx="1" presStyleCnt="3" custScaleX="102833" custScaleY="124005" custRadScaleRad="50360" custRadScaleInc="29348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A550AE-2F7B-4516-B543-970D409E5DD7}" type="pres">
      <dgm:prSet presAssocID="{D0181A1D-77A4-4402-8C64-E3F764F57BF9}" presName="parTrans" presStyleLbl="bgSibTrans2D1" presStyleIdx="2" presStyleCnt="3" custAng="11181001" custScaleX="66871" custLinFactY="-43737" custLinFactNeighborX="5901" custLinFactNeighborY="-100000"/>
      <dgm:spPr/>
      <dgm:t>
        <a:bodyPr/>
        <a:lstStyle/>
        <a:p>
          <a:endParaRPr lang="ru-RU"/>
        </a:p>
      </dgm:t>
    </dgm:pt>
    <dgm:pt modelId="{7D20BC81-4B43-4B66-A854-FFBD87AC01EA}" type="pres">
      <dgm:prSet presAssocID="{128BBCB6-5F9C-41E3-8C87-B03A9DB99361}" presName="node" presStyleLbl="node1" presStyleIdx="2" presStyleCnt="3" custScaleX="102860" custScaleY="121790" custRadScaleRad="93789" custRadScaleInc="1130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BF5612A-474D-4F8C-8CE9-2C93198E72F3}" type="presOf" srcId="{E374EBCA-3163-4F6E-8F19-D722F52FC64D}" destId="{DE00D57F-2E2F-44C2-A626-C6415F560AC0}" srcOrd="0" destOrd="0" presId="urn:microsoft.com/office/officeart/2005/8/layout/radial4"/>
    <dgm:cxn modelId="{1CC91FAE-5321-4931-AD71-80FCBA61DAA0}" type="presOf" srcId="{0905984E-6674-44B6-807B-C776785366F4}" destId="{63C0F39B-2473-4411-A634-A2F31A79756E}" srcOrd="0" destOrd="0" presId="urn:microsoft.com/office/officeart/2005/8/layout/radial4"/>
    <dgm:cxn modelId="{C98AC2FA-8D97-45C3-A62E-4735E4F4696C}" type="presOf" srcId="{334FF50E-9342-4C2A-BE2A-71BAED4A836A}" destId="{E4F13324-354D-433F-B019-D3D5303100E5}" srcOrd="0" destOrd="0" presId="urn:microsoft.com/office/officeart/2005/8/layout/radial4"/>
    <dgm:cxn modelId="{BF4FA162-58E8-436B-821F-2D8684A03387}" srcId="{0905984E-6674-44B6-807B-C776785366F4}" destId="{C5F50BB0-53CD-488A-9BDD-DDF826C72743}" srcOrd="1" destOrd="0" parTransId="{1DBADBB9-9DDE-4B82-87E7-EDBE7A6ED50E}" sibTransId="{939B3A1D-1CED-4436-9065-B49008130E51}"/>
    <dgm:cxn modelId="{B3AA6A5C-5EB8-47F5-96FF-C7D374E971E8}" srcId="{0905984E-6674-44B6-807B-C776785366F4}" destId="{334FF50E-9342-4C2A-BE2A-71BAED4A836A}" srcOrd="0" destOrd="0" parTransId="{E374EBCA-3163-4F6E-8F19-D722F52FC64D}" sibTransId="{5C4F39F5-8842-4FC0-B891-B662FD28F319}"/>
    <dgm:cxn modelId="{8B87844C-5FDD-4BD2-B9C8-0E6E9CEE4B55}" type="presOf" srcId="{1DBADBB9-9DDE-4B82-87E7-EDBE7A6ED50E}" destId="{159DFE2C-0AB5-4259-B765-58E014A7780E}" srcOrd="0" destOrd="0" presId="urn:microsoft.com/office/officeart/2005/8/layout/radial4"/>
    <dgm:cxn modelId="{17D2A3A3-A633-49C6-B96C-462944D5526A}" type="presOf" srcId="{C5F50BB0-53CD-488A-9BDD-DDF826C72743}" destId="{471E0626-5096-458C-89C3-D64160C94EFF}" srcOrd="0" destOrd="0" presId="urn:microsoft.com/office/officeart/2005/8/layout/radial4"/>
    <dgm:cxn modelId="{6B5BCA48-86A4-4E53-9B74-50BD1B6DDAF7}" type="presOf" srcId="{D0181A1D-77A4-4402-8C64-E3F764F57BF9}" destId="{C1A550AE-2F7B-4516-B543-970D409E5DD7}" srcOrd="0" destOrd="0" presId="urn:microsoft.com/office/officeart/2005/8/layout/radial4"/>
    <dgm:cxn modelId="{A4224993-973D-447D-A2B8-D34A31C4BE50}" srcId="{0905984E-6674-44B6-807B-C776785366F4}" destId="{128BBCB6-5F9C-41E3-8C87-B03A9DB99361}" srcOrd="2" destOrd="0" parTransId="{D0181A1D-77A4-4402-8C64-E3F764F57BF9}" sibTransId="{B52D57C3-3200-4180-825E-30807DC33BBD}"/>
    <dgm:cxn modelId="{EDBA0A7E-8245-47EB-9D2D-3102DA6443A5}" srcId="{B461D0CC-C017-41A9-96CC-3E97AE85B071}" destId="{0905984E-6674-44B6-807B-C776785366F4}" srcOrd="0" destOrd="0" parTransId="{1C6A1F71-E206-47AC-81B8-A48E85FAFF17}" sibTransId="{65030A20-FE9F-433E-B676-E38DDD8CF324}"/>
    <dgm:cxn modelId="{3B29038C-6224-43AD-A6AA-6207034BDF11}" type="presOf" srcId="{128BBCB6-5F9C-41E3-8C87-B03A9DB99361}" destId="{7D20BC81-4B43-4B66-A854-FFBD87AC01EA}" srcOrd="0" destOrd="0" presId="urn:microsoft.com/office/officeart/2005/8/layout/radial4"/>
    <dgm:cxn modelId="{17919906-AEFB-4159-84F2-FDC3DE11A177}" type="presOf" srcId="{B461D0CC-C017-41A9-96CC-3E97AE85B071}" destId="{587FFEB3-216A-4141-B2DF-10E884A2BE79}" srcOrd="0" destOrd="0" presId="urn:microsoft.com/office/officeart/2005/8/layout/radial4"/>
    <dgm:cxn modelId="{4F832975-9FD0-43D6-A97D-4844EAE6A628}" type="presParOf" srcId="{587FFEB3-216A-4141-B2DF-10E884A2BE79}" destId="{63C0F39B-2473-4411-A634-A2F31A79756E}" srcOrd="0" destOrd="0" presId="urn:microsoft.com/office/officeart/2005/8/layout/radial4"/>
    <dgm:cxn modelId="{E385C1D4-BF69-430F-8F37-5F883559CD24}" type="presParOf" srcId="{587FFEB3-216A-4141-B2DF-10E884A2BE79}" destId="{DE00D57F-2E2F-44C2-A626-C6415F560AC0}" srcOrd="1" destOrd="0" presId="urn:microsoft.com/office/officeart/2005/8/layout/radial4"/>
    <dgm:cxn modelId="{EA14DB6E-527B-4CE9-894D-BB683E51B814}" type="presParOf" srcId="{587FFEB3-216A-4141-B2DF-10E884A2BE79}" destId="{E4F13324-354D-433F-B019-D3D5303100E5}" srcOrd="2" destOrd="0" presId="urn:microsoft.com/office/officeart/2005/8/layout/radial4"/>
    <dgm:cxn modelId="{95F0A91E-3FDF-481F-93BA-343F303A6153}" type="presParOf" srcId="{587FFEB3-216A-4141-B2DF-10E884A2BE79}" destId="{159DFE2C-0AB5-4259-B765-58E014A7780E}" srcOrd="3" destOrd="0" presId="urn:microsoft.com/office/officeart/2005/8/layout/radial4"/>
    <dgm:cxn modelId="{89C9DA65-B945-432B-BF20-B31AE989AB19}" type="presParOf" srcId="{587FFEB3-216A-4141-B2DF-10E884A2BE79}" destId="{471E0626-5096-458C-89C3-D64160C94EFF}" srcOrd="4" destOrd="0" presId="urn:microsoft.com/office/officeart/2005/8/layout/radial4"/>
    <dgm:cxn modelId="{E5E90261-AD24-45EC-87C3-E5270868F0D0}" type="presParOf" srcId="{587FFEB3-216A-4141-B2DF-10E884A2BE79}" destId="{C1A550AE-2F7B-4516-B543-970D409E5DD7}" srcOrd="5" destOrd="0" presId="urn:microsoft.com/office/officeart/2005/8/layout/radial4"/>
    <dgm:cxn modelId="{8BBB56BB-3A6F-458F-998E-8F8D43C60FEA}" type="presParOf" srcId="{587FFEB3-216A-4141-B2DF-10E884A2BE79}" destId="{7D20BC81-4B43-4B66-A854-FFBD87AC01EA}" srcOrd="6" destOrd="0" presId="urn:microsoft.com/office/officeart/2005/8/layout/radial4"/>
  </dgm:cxnLst>
  <dgm:bg/>
  <dgm:whole/>
  <dgm:extLst>
    <a:ext uri="http://schemas.microsoft.com/office/drawing/2008/diagram">
      <dsp:dataModelExt xmlns=""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1873</cdr:x>
      <cdr:y>0.68637</cdr:y>
    </cdr:from>
    <cdr:to>
      <cdr:x>0.30076</cdr:x>
      <cdr:y>0.78299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 flipV="1">
          <a:off x="1756736" y="3185160"/>
          <a:ext cx="658804" cy="448378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6444</cdr:x>
      <cdr:y>0.68654</cdr:y>
    </cdr:from>
    <cdr:to>
      <cdr:x>0.54934</cdr:x>
      <cdr:y>0.78489</cdr:y>
    </cdr:to>
    <cdr:cxnSp macro="">
      <cdr:nvCxnSpPr>
        <cdr:cNvPr id="4" name="Прямая со стрелкой 3"/>
        <cdr:cNvCxnSpPr/>
      </cdr:nvCxnSpPr>
      <cdr:spPr>
        <a:xfrm xmlns:a="http://schemas.openxmlformats.org/drawingml/2006/main">
          <a:off x="3730178" y="3185962"/>
          <a:ext cx="681802" cy="456398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1873</cdr:x>
      <cdr:y>0.47714</cdr:y>
    </cdr:from>
    <cdr:to>
      <cdr:x>0.29493</cdr:x>
      <cdr:y>0.56426</cdr:y>
    </cdr:to>
    <cdr:cxnSp macro="">
      <cdr:nvCxnSpPr>
        <cdr:cNvPr id="8" name="Прямая со стрелкой 7"/>
        <cdr:cNvCxnSpPr/>
      </cdr:nvCxnSpPr>
      <cdr:spPr>
        <a:xfrm xmlns:a="http://schemas.openxmlformats.org/drawingml/2006/main">
          <a:off x="1756752" y="2214212"/>
          <a:ext cx="612002" cy="404261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2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6454</cdr:x>
      <cdr:y>0.4844</cdr:y>
    </cdr:from>
    <cdr:to>
      <cdr:x>0.55123</cdr:x>
      <cdr:y>0.56806</cdr:y>
    </cdr:to>
    <cdr:cxnSp macro="">
      <cdr:nvCxnSpPr>
        <cdr:cNvPr id="11" name="Прямая со стрелкой 10"/>
        <cdr:cNvCxnSpPr/>
      </cdr:nvCxnSpPr>
      <cdr:spPr>
        <a:xfrm xmlns:a="http://schemas.openxmlformats.org/drawingml/2006/main" flipV="1">
          <a:off x="3730942" y="2247900"/>
          <a:ext cx="696278" cy="388219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2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1373</cdr:x>
      <cdr:y>0.47947</cdr:y>
    </cdr:from>
    <cdr:to>
      <cdr:x>0.79886</cdr:x>
      <cdr:y>0.56572</cdr:y>
    </cdr:to>
    <cdr:cxnSp macro="">
      <cdr:nvCxnSpPr>
        <cdr:cNvPr id="12" name="Прямая со стрелкой 11"/>
        <cdr:cNvCxnSpPr/>
      </cdr:nvCxnSpPr>
      <cdr:spPr>
        <a:xfrm xmlns:a="http://schemas.openxmlformats.org/drawingml/2006/main" flipV="1">
          <a:off x="5732329" y="2225040"/>
          <a:ext cx="683711" cy="400252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2">
          <a:schemeClr val="accent4"/>
        </a:lnRef>
        <a:fillRef xmlns:a="http://schemas.openxmlformats.org/drawingml/2006/main" idx="0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2591</cdr:x>
      <cdr:y>0.17208</cdr:y>
    </cdr:from>
    <cdr:to>
      <cdr:x>0.29436</cdr:x>
      <cdr:y>0.26512</cdr:y>
    </cdr:to>
    <cdr:sp macro="" textlink="">
      <cdr:nvSpPr>
        <cdr:cNvPr id="13" name="Shape 12"/>
        <cdr:cNvSpPr/>
      </cdr:nvSpPr>
      <cdr:spPr>
        <a:xfrm xmlns:a="http://schemas.openxmlformats.org/drawingml/2006/main" rot="2129231">
          <a:off x="1814392" y="798551"/>
          <a:ext cx="549738" cy="431779"/>
        </a:xfrm>
        <a:prstGeom xmlns:a="http://schemas.openxmlformats.org/drawingml/2006/main" prst="swooshArrow">
          <a:avLst>
            <a:gd name="adj1" fmla="val 15353"/>
            <a:gd name="adj2" fmla="val 31370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2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40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715</cdr:x>
      <cdr:y>0.12225</cdr:y>
    </cdr:from>
    <cdr:to>
      <cdr:x>0.19004</cdr:x>
      <cdr:y>0.18219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51500" y="648072"/>
          <a:ext cx="1080093" cy="31775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965,41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32438</cdr:x>
      <cdr:y>0.11376</cdr:y>
    </cdr:from>
    <cdr:to>
      <cdr:x>0.44292</cdr:x>
      <cdr:y>0.1737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2955756" y="652718"/>
          <a:ext cx="1080128" cy="34393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 025,35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7312</cdr:x>
      <cdr:y>0.18993</cdr:y>
    </cdr:from>
    <cdr:to>
      <cdr:x>0.54157</cdr:x>
      <cdr:y>0.28297</cdr:y>
    </cdr:to>
    <cdr:sp macro="" textlink="">
      <cdr:nvSpPr>
        <cdr:cNvPr id="29" name="Shape 28"/>
        <cdr:cNvSpPr/>
      </cdr:nvSpPr>
      <cdr:spPr>
        <a:xfrm xmlns:a="http://schemas.openxmlformats.org/drawingml/2006/main" rot="2129231">
          <a:off x="3799840" y="881380"/>
          <a:ext cx="549738" cy="431779"/>
        </a:xfrm>
        <a:prstGeom xmlns:a="http://schemas.openxmlformats.org/drawingml/2006/main" prst="swooshArrow">
          <a:avLst>
            <a:gd name="adj1" fmla="val 15353"/>
            <a:gd name="adj2" fmla="val 31370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2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40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71885</cdr:x>
      <cdr:y>0.19157</cdr:y>
    </cdr:from>
    <cdr:to>
      <cdr:x>0.7873</cdr:x>
      <cdr:y>0.28461</cdr:y>
    </cdr:to>
    <cdr:sp macro="" textlink="">
      <cdr:nvSpPr>
        <cdr:cNvPr id="30" name="Shape 29"/>
        <cdr:cNvSpPr/>
      </cdr:nvSpPr>
      <cdr:spPr>
        <a:xfrm xmlns:a="http://schemas.openxmlformats.org/drawingml/2006/main" rot="2129231">
          <a:off x="5773420" y="888999"/>
          <a:ext cx="549738" cy="431779"/>
        </a:xfrm>
        <a:prstGeom xmlns:a="http://schemas.openxmlformats.org/drawingml/2006/main" prst="swooshArrow">
          <a:avLst>
            <a:gd name="adj1" fmla="val 15353"/>
            <a:gd name="adj2" fmla="val 31370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4"/>
        </a:lnRef>
        <a:fillRef xmlns:a="http://schemas.openxmlformats.org/drawingml/2006/main" idx="2">
          <a:schemeClr val="accent4"/>
        </a:fillRef>
        <a:effectRef xmlns:a="http://schemas.openxmlformats.org/drawingml/2006/main" idx="1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400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6936</cdr:x>
      <cdr:y>0.14942</cdr:y>
    </cdr:from>
    <cdr:to>
      <cdr:x>0.6879</cdr:x>
      <cdr:y>0.20936</cdr:y>
    </cdr:to>
    <cdr:sp macro="" textlink="">
      <cdr:nvSpPr>
        <cdr:cNvPr id="31" name="TextBox 1"/>
        <cdr:cNvSpPr txBox="1"/>
      </cdr:nvSpPr>
      <cdr:spPr>
        <a:xfrm xmlns:a="http://schemas.openxmlformats.org/drawingml/2006/main">
          <a:off x="5188004" y="792088"/>
          <a:ext cx="1080107" cy="31775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836,43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1434</cdr:x>
      <cdr:y>0.14942</cdr:y>
    </cdr:from>
    <cdr:to>
      <cdr:x>0.94</cdr:x>
      <cdr:y>0.20936</cdr:y>
    </cdr:to>
    <cdr:sp macro="" textlink="">
      <cdr:nvSpPr>
        <cdr:cNvPr id="32" name="TextBox 1"/>
        <cdr:cNvSpPr txBox="1"/>
      </cdr:nvSpPr>
      <cdr:spPr>
        <a:xfrm xmlns:a="http://schemas.openxmlformats.org/drawingml/2006/main">
          <a:off x="7420252" y="792088"/>
          <a:ext cx="1144921" cy="31775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824,34</a:t>
          </a:r>
          <a:endParaRPr lang="ru-RU" sz="1800" b="1" dirty="0">
            <a:solidFill>
              <a:srgbClr val="FF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126</cdr:x>
      <cdr:y>0.68582</cdr:y>
    </cdr:from>
    <cdr:to>
      <cdr:x>0.79615</cdr:x>
      <cdr:y>0.78417</cdr:y>
    </cdr:to>
    <cdr:cxnSp macro="">
      <cdr:nvCxnSpPr>
        <cdr:cNvPr id="42" name="Прямая со стрелкой 41"/>
        <cdr:cNvCxnSpPr/>
      </cdr:nvCxnSpPr>
      <cdr:spPr>
        <a:xfrm xmlns:a="http://schemas.openxmlformats.org/drawingml/2006/main">
          <a:off x="5712460" y="3182620"/>
          <a:ext cx="681802" cy="456398"/>
        </a:xfrm>
        <a:prstGeom xmlns:a="http://schemas.openxmlformats.org/drawingml/2006/main" prst="straightConnector1">
          <a:avLst/>
        </a:prstGeom>
        <a:ln xmlns:a="http://schemas.openxmlformats.org/drawingml/2006/main" w="28575"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1444</cdr:x>
      <cdr:y>0.61486</cdr:y>
    </cdr:from>
    <cdr:to>
      <cdr:x>0.30171</cdr:x>
      <cdr:y>0.66558</cdr:y>
    </cdr:to>
    <cdr:sp macro="" textlink="">
      <cdr:nvSpPr>
        <cdr:cNvPr id="43" name="TextBox 1"/>
        <cdr:cNvSpPr txBox="1"/>
      </cdr:nvSpPr>
      <cdr:spPr>
        <a:xfrm xmlns:a="http://schemas.openxmlformats.org/drawingml/2006/main">
          <a:off x="1953963" y="3259501"/>
          <a:ext cx="795198" cy="268891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07,7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21695</cdr:x>
      <cdr:y>0.10454</cdr:y>
    </cdr:from>
    <cdr:to>
      <cdr:x>0.30422</cdr:x>
      <cdr:y>0.14942</cdr:y>
    </cdr:to>
    <cdr:sp macro="" textlink="">
      <cdr:nvSpPr>
        <cdr:cNvPr id="72" name="TextBox 1"/>
        <cdr:cNvSpPr txBox="1"/>
      </cdr:nvSpPr>
      <cdr:spPr>
        <a:xfrm xmlns:a="http://schemas.openxmlformats.org/drawingml/2006/main">
          <a:off x="1976834" y="554188"/>
          <a:ext cx="795198" cy="23790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02,0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21885</cdr:x>
      <cdr:y>0.40504</cdr:y>
    </cdr:from>
    <cdr:to>
      <cdr:x>0.30611</cdr:x>
      <cdr:y>0.45378</cdr:y>
    </cdr:to>
    <cdr:sp macro="" textlink="">
      <cdr:nvSpPr>
        <cdr:cNvPr id="73" name="TextBox 1"/>
        <cdr:cNvSpPr txBox="1"/>
      </cdr:nvSpPr>
      <cdr:spPr>
        <a:xfrm xmlns:a="http://schemas.openxmlformats.org/drawingml/2006/main">
          <a:off x="1994146" y="2147201"/>
          <a:ext cx="795108" cy="258407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8,7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6663</cdr:x>
      <cdr:y>0.11376</cdr:y>
    </cdr:from>
    <cdr:to>
      <cdr:x>0.5539</cdr:x>
      <cdr:y>0.16773</cdr:y>
    </cdr:to>
    <cdr:sp macro="" textlink="">
      <cdr:nvSpPr>
        <cdr:cNvPr id="74" name="TextBox 1"/>
        <cdr:cNvSpPr txBox="1"/>
      </cdr:nvSpPr>
      <cdr:spPr>
        <a:xfrm xmlns:a="http://schemas.openxmlformats.org/drawingml/2006/main">
          <a:off x="4251900" y="652718"/>
          <a:ext cx="795198" cy="30967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3,8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6268</cdr:x>
      <cdr:y>0.40504</cdr:y>
    </cdr:from>
    <cdr:to>
      <cdr:x>0.54995</cdr:x>
      <cdr:y>0.46183</cdr:y>
    </cdr:to>
    <cdr:sp macro="" textlink="">
      <cdr:nvSpPr>
        <cdr:cNvPr id="75" name="TextBox 1"/>
        <cdr:cNvSpPr txBox="1"/>
      </cdr:nvSpPr>
      <cdr:spPr>
        <a:xfrm xmlns:a="http://schemas.openxmlformats.org/drawingml/2006/main">
          <a:off x="4215909" y="2147201"/>
          <a:ext cx="795198" cy="301071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0,8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6363</cdr:x>
      <cdr:y>0.61357</cdr:y>
    </cdr:from>
    <cdr:to>
      <cdr:x>0.5509</cdr:x>
      <cdr:y>0.66558</cdr:y>
    </cdr:to>
    <cdr:sp macro="" textlink="">
      <cdr:nvSpPr>
        <cdr:cNvPr id="76" name="TextBox 1"/>
        <cdr:cNvSpPr txBox="1"/>
      </cdr:nvSpPr>
      <cdr:spPr>
        <a:xfrm xmlns:a="http://schemas.openxmlformats.org/drawingml/2006/main">
          <a:off x="4224565" y="3252662"/>
          <a:ext cx="795198" cy="27573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8,3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031</cdr:x>
      <cdr:y>0.12589</cdr:y>
    </cdr:from>
    <cdr:to>
      <cdr:x>0.79757</cdr:x>
      <cdr:y>0.17658</cdr:y>
    </cdr:to>
    <cdr:sp macro="" textlink="">
      <cdr:nvSpPr>
        <cdr:cNvPr id="77" name="TextBox 1"/>
        <cdr:cNvSpPr txBox="1"/>
      </cdr:nvSpPr>
      <cdr:spPr>
        <a:xfrm xmlns:a="http://schemas.openxmlformats.org/drawingml/2006/main">
          <a:off x="6472296" y="667369"/>
          <a:ext cx="795108" cy="26873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9,6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031</cdr:x>
      <cdr:y>0.40504</cdr:y>
    </cdr:from>
    <cdr:to>
      <cdr:x>0.79757</cdr:x>
      <cdr:y>0.46183</cdr:y>
    </cdr:to>
    <cdr:sp macro="" textlink="">
      <cdr:nvSpPr>
        <cdr:cNvPr id="78" name="TextBox 1"/>
        <cdr:cNvSpPr txBox="1"/>
      </cdr:nvSpPr>
      <cdr:spPr>
        <a:xfrm xmlns:a="http://schemas.openxmlformats.org/drawingml/2006/main">
          <a:off x="6472296" y="2147201"/>
          <a:ext cx="795108" cy="301071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00,9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1031</cdr:x>
      <cdr:y>0.61029</cdr:y>
    </cdr:from>
    <cdr:to>
      <cdr:x>0.79757</cdr:x>
      <cdr:y>0.66558</cdr:y>
    </cdr:to>
    <cdr:sp macro="" textlink="">
      <cdr:nvSpPr>
        <cdr:cNvPr id="79" name="TextBox 1"/>
        <cdr:cNvSpPr txBox="1"/>
      </cdr:nvSpPr>
      <cdr:spPr>
        <a:xfrm xmlns:a="http://schemas.openxmlformats.org/drawingml/2006/main">
          <a:off x="6472296" y="3235274"/>
          <a:ext cx="795108" cy="29311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2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97,7%</a:t>
          </a:r>
          <a:endParaRPr lang="ru-RU" sz="12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713</cdr:x>
      <cdr:y>0.52046</cdr:y>
    </cdr:from>
    <cdr:to>
      <cdr:x>0.26375</cdr:x>
      <cdr:y>0.58098</cdr:y>
    </cdr:to>
    <cdr:cxnSp macro="">
      <cdr:nvCxnSpPr>
        <cdr:cNvPr id="3" name="Прямая со стрелкой 2"/>
        <cdr:cNvCxnSpPr/>
      </cdr:nvCxnSpPr>
      <cdr:spPr bwMode="auto">
        <a:xfrm xmlns:a="http://schemas.openxmlformats.org/drawingml/2006/main" flipV="1">
          <a:off x="1619672" y="3096344"/>
          <a:ext cx="792088" cy="360040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8188</cdr:x>
      <cdr:y>0.60734</cdr:y>
    </cdr:from>
    <cdr:to>
      <cdr:x>0.4685</cdr:x>
      <cdr:y>0.67741</cdr:y>
    </cdr:to>
    <cdr:cxnSp macro="">
      <cdr:nvCxnSpPr>
        <cdr:cNvPr id="4" name="Прямая со стрелкой 3"/>
        <cdr:cNvCxnSpPr/>
      </cdr:nvCxnSpPr>
      <cdr:spPr bwMode="auto">
        <a:xfrm xmlns:a="http://schemas.openxmlformats.org/drawingml/2006/main" flipV="1">
          <a:off x="3491880" y="3744416"/>
          <a:ext cx="792088" cy="432048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1812</cdr:x>
      <cdr:y>0.10512</cdr:y>
    </cdr:from>
    <cdr:to>
      <cdr:x>0.70475</cdr:x>
      <cdr:y>0.16353</cdr:y>
    </cdr:to>
    <cdr:cxnSp macro="">
      <cdr:nvCxnSpPr>
        <cdr:cNvPr id="7" name="Прямая со стрелкой 6"/>
        <cdr:cNvCxnSpPr/>
      </cdr:nvCxnSpPr>
      <cdr:spPr bwMode="auto">
        <a:xfrm xmlns:a="http://schemas.openxmlformats.org/drawingml/2006/main">
          <a:off x="5652120" y="648072"/>
          <a:ext cx="792119" cy="360128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3075</cdr:x>
      <cdr:y>0.70077</cdr:y>
    </cdr:from>
    <cdr:to>
      <cdr:x>0.91737</cdr:x>
      <cdr:y>0.76129</cdr:y>
    </cdr:to>
    <cdr:cxnSp macro="">
      <cdr:nvCxnSpPr>
        <cdr:cNvPr id="9" name="Прямая со стрелкой 8"/>
        <cdr:cNvCxnSpPr/>
      </cdr:nvCxnSpPr>
      <cdr:spPr bwMode="auto">
        <a:xfrm xmlns:a="http://schemas.openxmlformats.org/drawingml/2006/main" flipV="1">
          <a:off x="7596336" y="4320480"/>
          <a:ext cx="792088" cy="373114"/>
        </a:xfrm>
        <a:prstGeom xmlns:a="http://schemas.openxmlformats.org/drawingml/2006/main" prst="straightConnector1">
          <a:avLst/>
        </a:prstGeom>
        <a:ln xmlns:a="http://schemas.openxmlformats.org/drawingml/2006/main">
          <a:headEnd type="none" w="med" len="med"/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7713</cdr:x>
      <cdr:y>0.4416</cdr:y>
    </cdr:from>
    <cdr:to>
      <cdr:x>0.26375</cdr:x>
      <cdr:y>0.5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1619672" y="2722612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+7,9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39763</cdr:x>
      <cdr:y>0.52558</cdr:y>
    </cdr:from>
    <cdr:to>
      <cdr:x>0.48425</cdr:x>
      <cdr:y>0.58398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3635896" y="3240360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+47,0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1025</cdr:x>
      <cdr:y>0.02336</cdr:y>
    </cdr:from>
    <cdr:to>
      <cdr:x>0.69687</cdr:x>
      <cdr:y>0.08176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5580112" y="144016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2,4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3862</cdr:x>
      <cdr:y>0.60734</cdr:y>
    </cdr:from>
    <cdr:to>
      <cdr:x>0.92524</cdr:x>
      <cdr:y>0.66573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7668344" y="3744416"/>
          <a:ext cx="792088" cy="360040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+91,5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4848</cdr:x>
      <cdr:y>0.05005</cdr:y>
    </cdr:from>
    <cdr:to>
      <cdr:x>0.71256</cdr:x>
      <cdr:y>0.2853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09495" y="245092"/>
          <a:ext cx="1368152" cy="115215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Всего </a:t>
          </a:r>
        </a:p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межбюджетных </a:t>
          </a:r>
        </a:p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трансфертов </a:t>
          </a:r>
          <a:r>
            <a:rPr lang="ru-RU" sz="14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 xmlns:a="http://schemas.openxmlformats.org/drawingml/2006/main">
          <a:pPr algn="ctr"/>
          <a:r>
            <a:rPr lang="ru-RU" sz="14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 842,0 </a:t>
          </a:r>
          <a:r>
            <a:rPr lang="ru-RU" sz="1400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млн</a:t>
          </a:r>
          <a:r>
            <a:rPr lang="ru-RU" sz="14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. руб.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06104</cdr:x>
      <cdr:y>0.63235</cdr:y>
    </cdr:from>
    <cdr:to>
      <cdr:x>0.37353</cdr:x>
      <cdr:y>0.8235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29374" y="3096330"/>
          <a:ext cx="1174274" cy="93611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Новые </a:t>
          </a:r>
        </a:p>
        <a:p xmlns:a="http://schemas.openxmlformats.org/drawingml/2006/main">
          <a:pPr algn="ctr"/>
          <a:r>
            <a:rPr lang="ru-RU" sz="1400" dirty="0">
              <a:latin typeface="Times New Roman" panose="02020603050405020304" pitchFamily="18" charset="0"/>
              <a:cs typeface="Times New Roman" panose="02020603050405020304" pitchFamily="18" charset="0"/>
            </a:rPr>
            <a:t>направления </a:t>
          </a:r>
          <a:endParaRPr lang="ru-RU" sz="1400" baseline="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pPr algn="ctr"/>
          <a:r>
            <a:rPr lang="ru-RU" sz="1400" baseline="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17,7 </a:t>
          </a:r>
          <a:r>
            <a:rPr lang="ru-RU" sz="1400" baseline="0" dirty="0">
              <a:latin typeface="Times New Roman" panose="02020603050405020304" pitchFamily="18" charset="0"/>
              <a:cs typeface="Times New Roman" panose="02020603050405020304" pitchFamily="18" charset="0"/>
            </a:rPr>
            <a:t>млн. руб.</a:t>
          </a:r>
          <a:endParaRPr lang="ru-RU" sz="1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5312</cdr:x>
      <cdr:y>0.72575</cdr:y>
    </cdr:from>
    <cdr:to>
      <cdr:x>0.55312</cdr:x>
      <cdr:y>0.87838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4143372" y="434817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4326</cdr:x>
      <cdr:y>0.80044</cdr:y>
    </cdr:from>
    <cdr:to>
      <cdr:x>0.06688</cdr:x>
      <cdr:y>0.83649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395536" y="4795614"/>
          <a:ext cx="215982" cy="215985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0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3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4326</cdr:x>
      <cdr:y>0.88457</cdr:y>
    </cdr:from>
    <cdr:to>
      <cdr:x>0.06688</cdr:x>
      <cdr:y>0.92063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395536" y="5299670"/>
          <a:ext cx="215982" cy="21604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2">
            <a:lumMod val="75000"/>
          </a:schemeClr>
        </a:solidFill>
      </cdr:spPr>
      <cdr:style>
        <a:lnRef xmlns:a="http://schemas.openxmlformats.org/drawingml/2006/main" idx="0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3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8263</cdr:x>
      <cdr:y>0.78842</cdr:y>
    </cdr:from>
    <cdr:to>
      <cdr:x>0.41338</cdr:x>
      <cdr:y>0.86053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755576" y="4723606"/>
          <a:ext cx="3024343" cy="432029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2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сего доходов</a:t>
          </a:r>
          <a:endParaRPr lang="ru-RU" sz="24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08263</cdr:x>
      <cdr:y>0.87255</cdr:y>
    </cdr:from>
    <cdr:to>
      <cdr:x>0.41338</cdr:x>
      <cdr:y>0.94466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755576" y="5227662"/>
          <a:ext cx="3024343" cy="432029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24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обственные доходы</a:t>
          </a:r>
          <a:endParaRPr lang="ru-RU" sz="24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4505</cdr:x>
      <cdr:y>0.03721</cdr:y>
    </cdr:from>
    <cdr:to>
      <cdr:x>0.85769</cdr:x>
      <cdr:y>0.124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152128" y="216024"/>
          <a:ext cx="2880313" cy="50405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ступления, млн. руб.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19097</cdr:x>
      <cdr:y>0.03355</cdr:y>
    </cdr:from>
    <cdr:to>
      <cdr:x>0.86117</cdr:x>
      <cdr:y>0.1403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94923" y="135756"/>
          <a:ext cx="3140759" cy="432067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труктура поступлений, %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63333</cdr:x>
      <cdr:y>0.54012</cdr:y>
    </cdr:from>
    <cdr:to>
      <cdr:x>0.78124</cdr:x>
      <cdr:y>0.65697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>
          <a:off x="5472608" y="2537204"/>
          <a:ext cx="1278084" cy="54889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6">
            <a:lumMod val="60000"/>
            <a:lumOff val="40000"/>
          </a:scheme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>
            <a:defRPr/>
          </a:pPr>
          <a:r>
            <a:rPr lang="ru-RU" sz="2200" dirty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+ </a:t>
          </a:r>
          <a:r>
            <a:rPr lang="ru-RU" sz="2200" dirty="0" smtClean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8,4</a:t>
          </a:r>
          <a:endParaRPr lang="ru-RU" sz="1400" dirty="0">
            <a:ln w="3175" cmpd="sng">
              <a:solidFill>
                <a:srgbClr val="1F497D">
                  <a:lumMod val="50000"/>
                </a:srgbClr>
              </a:solidFill>
              <a:prstDash val="solid"/>
            </a:ln>
            <a:solidFill>
              <a:srgbClr val="1F497D">
                <a:lumMod val="50000"/>
              </a:srgb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42723</cdr:x>
      <cdr:y>0.5361</cdr:y>
    </cdr:from>
    <cdr:to>
      <cdr:x>0.57514</cdr:x>
      <cdr:y>0.65295</cdr:y>
    </cdr:to>
    <cdr:sp macro="" textlink="">
      <cdr:nvSpPr>
        <cdr:cNvPr id="6" name="Скругленный прямоугольник 5"/>
        <cdr:cNvSpPr/>
      </cdr:nvSpPr>
      <cdr:spPr>
        <a:xfrm xmlns:a="http://schemas.openxmlformats.org/drawingml/2006/main">
          <a:off x="3691659" y="2518317"/>
          <a:ext cx="1278085" cy="54889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6">
            <a:lumMod val="60000"/>
            <a:lumOff val="40000"/>
          </a:scheme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>
            <a:defRPr/>
          </a:pPr>
          <a:r>
            <a:rPr lang="ru-RU" sz="2200" dirty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+ </a:t>
          </a:r>
          <a:r>
            <a:rPr lang="ru-RU" sz="2200" dirty="0" smtClean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52,5</a:t>
          </a:r>
          <a:endParaRPr lang="ru-RU" sz="1400" dirty="0">
            <a:ln w="3175" cmpd="sng">
              <a:solidFill>
                <a:srgbClr val="1F497D">
                  <a:lumMod val="50000"/>
                </a:srgbClr>
              </a:solidFill>
              <a:prstDash val="solid"/>
            </a:ln>
            <a:solidFill>
              <a:srgbClr val="1F497D">
                <a:lumMod val="50000"/>
              </a:srgb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25</cdr:x>
      <cdr:y>0.54012</cdr:y>
    </cdr:from>
    <cdr:to>
      <cdr:x>0.9729</cdr:x>
      <cdr:y>0.65697</cdr:y>
    </cdr:to>
    <cdr:sp macro="" textlink="">
      <cdr:nvSpPr>
        <cdr:cNvPr id="7" name="Скругленный прямоугольник 6"/>
        <cdr:cNvSpPr/>
      </cdr:nvSpPr>
      <cdr:spPr>
        <a:xfrm xmlns:a="http://schemas.openxmlformats.org/drawingml/2006/main">
          <a:off x="7128792" y="2537204"/>
          <a:ext cx="1277998" cy="548896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6">
            <a:lumMod val="60000"/>
            <a:lumOff val="40000"/>
          </a:scheme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>
          <a:outerShdw blurRad="50800" dist="38100" dir="2700000" algn="tl" rotWithShape="0">
            <a:prstClr val="black">
              <a:alpha val="40000"/>
            </a:prstClr>
          </a:outerShdw>
        </a:effectLst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rIns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>
            <a:defRPr/>
          </a:pPr>
          <a:r>
            <a:rPr lang="ru-RU" sz="2200" dirty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+ </a:t>
          </a:r>
          <a:r>
            <a:rPr lang="ru-RU" sz="2200" dirty="0" smtClean="0">
              <a:ln w="3175" cmpd="sng">
                <a:solidFill>
                  <a:srgbClr val="1F497D">
                    <a:lumMod val="50000"/>
                  </a:srgbClr>
                </a:solidFill>
                <a:prstDash val="solid"/>
              </a:ln>
              <a:solidFill>
                <a:srgbClr val="1F497D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1,96</a:t>
          </a:r>
          <a:endParaRPr lang="ru-RU" sz="1400" dirty="0">
            <a:ln w="3175" cmpd="sng">
              <a:solidFill>
                <a:srgbClr val="1F497D">
                  <a:lumMod val="50000"/>
                </a:srgbClr>
              </a:solidFill>
              <a:prstDash val="solid"/>
            </a:ln>
            <a:solidFill>
              <a:srgbClr val="1F497D">
                <a:lumMod val="50000"/>
              </a:srgb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42467</cdr:x>
      <cdr:y>0.18655</cdr:y>
    </cdr:from>
    <cdr:to>
      <cdr:x>0.56111</cdr:x>
      <cdr:y>0.388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46070" y="84582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10937</cdr:x>
      <cdr:y>0.70977</cdr:y>
    </cdr:from>
    <cdr:to>
      <cdr:x>0.32823</cdr:x>
      <cdr:y>0.8663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000100" y="4018198"/>
          <a:ext cx="2001256" cy="886665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3">
            <a:lumMod val="75000"/>
          </a:schemeClr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vertOverflow="clip" wrap="none" rtlCol="0" anchor="ctr"/>
        <a:lstStyle xmlns:a="http://schemas.openxmlformats.org/drawingml/2006/main"/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Индексация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коммунальных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услуг</a:t>
          </a:r>
        </a:p>
      </cdr:txBody>
    </cdr:sp>
  </cdr:relSizeAnchor>
  <cdr:relSizeAnchor xmlns:cdr="http://schemas.openxmlformats.org/drawingml/2006/chartDrawing">
    <cdr:from>
      <cdr:x>0.10156</cdr:x>
      <cdr:y>0.07883</cdr:y>
    </cdr:from>
    <cdr:to>
      <cdr:x>0.31418</cdr:x>
      <cdr:y>0.31984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928662" y="446298"/>
          <a:ext cx="1944197" cy="1364418"/>
        </a:xfrm>
        <a:prstGeom xmlns:a="http://schemas.openxmlformats.org/drawingml/2006/main" prst="rect">
          <a:avLst/>
        </a:prstGeom>
        <a:solidFill xmlns:a="http://schemas.openxmlformats.org/drawingml/2006/main">
          <a:srgbClr val="E47866"/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Оформление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муниципальной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бственности и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равил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землепользования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и застройки 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63281</cdr:x>
      <cdr:y>0</cdr:y>
    </cdr:from>
    <cdr:to>
      <cdr:x>0.83731</cdr:x>
      <cdr:y>0.19937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5786446" y="0"/>
          <a:ext cx="1869948" cy="1153645"/>
        </a:xfrm>
        <a:prstGeom xmlns:a="http://schemas.openxmlformats.org/drawingml/2006/main" prst="rect">
          <a:avLst/>
        </a:prstGeom>
        <a:solidFill xmlns:a="http://schemas.openxmlformats.org/drawingml/2006/main">
          <a:srgbClr val="ADDB7B"/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Развитие систем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коммунальной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инфраструктуры</a:t>
          </a:r>
        </a:p>
      </cdr:txBody>
    </cdr:sp>
  </cdr:relSizeAnchor>
  <cdr:relSizeAnchor xmlns:cdr="http://schemas.openxmlformats.org/drawingml/2006/chartDrawing">
    <cdr:from>
      <cdr:x>0.75</cdr:x>
      <cdr:y>0.36907</cdr:y>
    </cdr:from>
    <cdr:to>
      <cdr:x>0.97835</cdr:x>
      <cdr:y>0.57315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6858016" y="2089372"/>
          <a:ext cx="2088033" cy="1155348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60000"/>
            <a:lumOff val="40000"/>
          </a:schemeClr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Укрепление 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материально-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технической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базы "Управления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ГО и ЧС"</a:t>
          </a:r>
        </a:p>
      </cdr:txBody>
    </cdr:sp>
  </cdr:relSizeAnchor>
  <cdr:relSizeAnchor xmlns:cdr="http://schemas.openxmlformats.org/drawingml/2006/chartDrawing">
    <cdr:from>
      <cdr:x>0.67325</cdr:x>
      <cdr:y>0.78309</cdr:y>
    </cdr:from>
    <cdr:to>
      <cdr:x>0.94887</cdr:x>
      <cdr:y>0.97788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6156176" y="4320480"/>
          <a:ext cx="2520280" cy="1074701"/>
        </a:xfrm>
        <a:prstGeom xmlns:a="http://schemas.openxmlformats.org/drawingml/2006/main" prst="rect">
          <a:avLst/>
        </a:prstGeom>
        <a:solidFill xmlns:a="http://schemas.openxmlformats.org/drawingml/2006/main">
          <a:srgbClr val="2ED8FA"/>
        </a:solidFill>
        <a:effectLst xmlns:a="http://schemas.openxmlformats.org/drawingml/2006/main">
          <a:softEdge rad="50800"/>
        </a:effectLst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Поддержка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среднего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и малого</a:t>
          </a:r>
        </a:p>
        <a:p xmlns:a="http://schemas.openxmlformats.org/drawingml/2006/main">
          <a:pPr algn="ctr">
            <a:lnSpc>
              <a:spcPts val="1400"/>
            </a:lnSpc>
          </a:pPr>
          <a:r>
            <a:rPr lang="ru-RU" sz="1800" dirty="0">
              <a:latin typeface="Times New Roman" panose="02020603050405020304" pitchFamily="18" charset="0"/>
              <a:cs typeface="Times New Roman" panose="02020603050405020304" pitchFamily="18" charset="0"/>
            </a:rPr>
            <a:t> предпринимательства</a:t>
          </a: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2795</cdr:x>
      <cdr:y>0.16328</cdr:y>
    </cdr:from>
    <cdr:to>
      <cdr:x>0.39762</cdr:x>
      <cdr:y>0.28044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 flipV="1">
          <a:off x="2555776" y="936104"/>
          <a:ext cx="1080099" cy="671728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0815</cdr:x>
      <cdr:y>0.20096</cdr:y>
    </cdr:from>
    <cdr:to>
      <cdr:x>0.63046</cdr:x>
      <cdr:y>0.33177</cdr:y>
    </cdr:to>
    <cdr:cxnSp macro="">
      <cdr:nvCxnSpPr>
        <cdr:cNvPr id="4" name="Прямая со стрелкой 3"/>
        <cdr:cNvCxnSpPr/>
      </cdr:nvCxnSpPr>
      <cdr:spPr>
        <a:xfrm xmlns:a="http://schemas.openxmlformats.org/drawingml/2006/main">
          <a:off x="4646521" y="1152128"/>
          <a:ext cx="1118403" cy="749967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0475</cdr:x>
      <cdr:y>0.26087</cdr:y>
    </cdr:from>
    <cdr:to>
      <cdr:x>0.83075</cdr:x>
      <cdr:y>0.39903</cdr:y>
    </cdr:to>
    <cdr:cxnSp macro="">
      <cdr:nvCxnSpPr>
        <cdr:cNvPr id="6" name="Прямая со стрелкой 5"/>
        <cdr:cNvCxnSpPr/>
      </cdr:nvCxnSpPr>
      <cdr:spPr>
        <a:xfrm xmlns:a="http://schemas.openxmlformats.org/drawingml/2006/main">
          <a:off x="6444208" y="1495629"/>
          <a:ext cx="1152144" cy="792107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FF0000"/>
          </a:solidFill>
          <a:tailEnd type="triangle"/>
        </a:ln>
      </cdr:spPr>
      <cdr:style>
        <a:lnRef xmlns:a="http://schemas.openxmlformats.org/drawingml/2006/main" idx="3">
          <a:schemeClr val="accent2"/>
        </a:lnRef>
        <a:fillRef xmlns:a="http://schemas.openxmlformats.org/drawingml/2006/main" idx="0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1018</cdr:x>
      <cdr:y>0.31144</cdr:y>
    </cdr:from>
    <cdr:to>
      <cdr:x>0.45389</cdr:x>
      <cdr:y>0.53659</cdr:y>
    </cdr:to>
    <cdr:sp macro="" textlink="">
      <cdr:nvSpPr>
        <cdr:cNvPr id="15" name="TextBox 14"/>
        <cdr:cNvSpPr txBox="1"/>
      </cdr:nvSpPr>
      <cdr:spPr>
        <a:xfrm xmlns:a="http://schemas.openxmlformats.org/drawingml/2006/main" rot="20023740">
          <a:off x="1973580" y="126492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27419</cdr:x>
      <cdr:y>0.15201</cdr:y>
    </cdr:from>
    <cdr:to>
      <cdr:x>0.3773</cdr:x>
      <cdr:y>0.21529</cdr:y>
    </cdr:to>
    <cdr:sp macro="" textlink="">
      <cdr:nvSpPr>
        <cdr:cNvPr id="16" name="TextBox 15"/>
        <cdr:cNvSpPr txBox="1"/>
      </cdr:nvSpPr>
      <cdr:spPr>
        <a:xfrm xmlns:a="http://schemas.openxmlformats.org/drawingml/2006/main" rot="19641846">
          <a:off x="2507165" y="871484"/>
          <a:ext cx="942856" cy="36280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+84,1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53327</cdr:x>
      <cdr:y>0.2057</cdr:y>
    </cdr:from>
    <cdr:to>
      <cdr:x>0.64116</cdr:x>
      <cdr:y>0.26786</cdr:y>
    </cdr:to>
    <cdr:sp macro="" textlink="">
      <cdr:nvSpPr>
        <cdr:cNvPr id="17" name="TextBox 1"/>
        <cdr:cNvSpPr txBox="1"/>
      </cdr:nvSpPr>
      <cdr:spPr>
        <a:xfrm xmlns:a="http://schemas.openxmlformats.org/drawingml/2006/main" rot="2016255">
          <a:off x="4876217" y="1179327"/>
          <a:ext cx="986541" cy="3563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247,0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73812</cdr:x>
      <cdr:y>0.27446</cdr:y>
    </cdr:from>
    <cdr:to>
      <cdr:x>0.82924</cdr:x>
      <cdr:y>0.32941</cdr:y>
    </cdr:to>
    <cdr:sp macro="" textlink="">
      <cdr:nvSpPr>
        <cdr:cNvPr id="18" name="TextBox 1"/>
        <cdr:cNvSpPr txBox="1"/>
      </cdr:nvSpPr>
      <cdr:spPr>
        <a:xfrm xmlns:a="http://schemas.openxmlformats.org/drawingml/2006/main" rot="2031590">
          <a:off x="6749350" y="1573552"/>
          <a:ext cx="833201" cy="31504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-42,1</a:t>
          </a:r>
          <a:endParaRPr lang="ru-RU" sz="1800" dirty="0"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4FB9AB62-2399-4577-814D-EB72BD281C3F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D1AEB7E1-F4A5-43F3-B9A9-BA03A0B1484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297532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005804-D62E-49CD-B669-E121DB409FEC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87BFC-8A4D-41B3-B7A1-998FB3B0B6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25B6B-DC8E-446C-86C2-C92E949EEFDE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A14F2-382A-4C62-8879-3F05089C99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047BFF-EA4A-4899-8551-025F342E1225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4AF42C-B365-4A4B-A65E-0B8E3363394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EC97F-2561-4AF9-BF91-F8E5DACEB48E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90D01F-EC49-46FA-B755-46095081FD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005804-D62E-49CD-B669-E121DB409FEC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387BFC-8A4D-41B3-B7A1-998FB3B0B65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7749402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AE660A-D7C2-4348-8EBC-3781CDAD2BEE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C7500-4F1C-4EF0-A06A-CD2E846AEEBE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320129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73BBC-0CD6-4901-8FBD-E253DD3CF1D5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46E6FE-9FD6-41F7-9234-814F26DCF16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7334550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9EEDA5-67B8-4F9A-8452-1F250923FB10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E99A6-39AC-44E1-9CFA-CF103B547697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4060214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D7539B-4AAB-40A0-9906-968774C45166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6678FE-3FBB-4389-AA54-BCB04A706A3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164417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1DFE5E-A93C-4132-B739-C0B50E84609C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792B33-7507-44CA-BA02-FC5990BD9CEF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4443976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93C65-50CC-4E47-AE3C-07E2A44E94A5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14ECFB-421F-43E5-9CE8-2A43AE8B988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0015682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AE660A-D7C2-4348-8EBC-3781CDAD2BEE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C7500-4F1C-4EF0-A06A-CD2E846AEEB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4B8B5C-AE17-44F0-8E41-5BACBD555CBB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ACE9D-CC09-40EA-A5C1-93E2693E1C17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3773300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48BE9-FDC7-45A1-BBB0-8F80AFA2946F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E5B693-28B5-4215-B92F-D51D89E3C9D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852673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525B6B-DC8E-446C-86C2-C92E949EEFDE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4A14F2-382A-4C62-8879-3F05089C993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0619825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047BFF-EA4A-4899-8551-025F342E1225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4AF42C-B365-4A4B-A65E-0B8E3363394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38284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CEC97F-2561-4AF9-BF91-F8E5DACEB48E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90D01F-EC49-46FA-B755-46095081FD2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8839088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C73BBC-0CD6-4901-8FBD-E253DD3CF1D5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46E6FE-9FD6-41F7-9234-814F26DCF16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9EEDA5-67B8-4F9A-8452-1F250923FB10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EE99A6-39AC-44E1-9CFA-CF103B54769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D7539B-4AAB-40A0-9906-968774C45166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6678FE-3FBB-4389-AA54-BCB04A706A3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1DFE5E-A93C-4132-B739-C0B50E84609C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792B33-7507-44CA-BA02-FC5990BD9C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93C65-50CC-4E47-AE3C-07E2A44E94A5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14ECFB-421F-43E5-9CE8-2A43AE8B988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4B8B5C-AE17-44F0-8E41-5BACBD555CBB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ACE9D-CC09-40EA-A5C1-93E2693E1C1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48BE9-FDC7-45A1-BBB0-8F80AFA2946F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E5B693-28B5-4215-B92F-D51D89E3C9D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>
            <a:alphaModFix amt="92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solidFill>
            <a:srgbClr val="CC6600">
              <a:alpha val="70195"/>
            </a:srgbClr>
          </a:solidFill>
          <a:ln w="9525">
            <a:solidFill>
              <a:srgbClr val="CC66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solidFill>
            <a:srgbClr val="FFFFFF">
              <a:alpha val="50195"/>
            </a:srgbClr>
          </a:solidFill>
          <a:ln w="9525">
            <a:solidFill>
              <a:srgbClr val="9933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3DDC01E-A2D1-4B4E-BBAB-7BD19CD3886F}" type="datetimeFigureOut">
              <a:rPr lang="ru-RU"/>
              <a:pPr>
                <a:defRPr/>
              </a:pPr>
              <a:t>15.01.2018</a:t>
            </a:fld>
            <a:endParaRPr lang="ru-RU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67254C92-00B9-4D01-B0C9-E8B134DFF75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5" r:id="rId2"/>
    <p:sldLayoutId id="2147483734" r:id="rId3"/>
    <p:sldLayoutId id="2147483733" r:id="rId4"/>
    <p:sldLayoutId id="2147483732" r:id="rId5"/>
    <p:sldLayoutId id="2147483731" r:id="rId6"/>
    <p:sldLayoutId id="2147483730" r:id="rId7"/>
    <p:sldLayoutId id="2147483729" r:id="rId8"/>
    <p:sldLayoutId id="2147483728" r:id="rId9"/>
    <p:sldLayoutId id="2147483727" r:id="rId10"/>
    <p:sldLayoutId id="2147483726" r:id="rId11"/>
    <p:sldLayoutId id="2147483725" r:id="rId12"/>
  </p:sldLayoutIdLst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>
            <a:alphaModFix amt="92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solidFill>
            <a:srgbClr val="CC6600">
              <a:alpha val="70195"/>
            </a:srgbClr>
          </a:solidFill>
          <a:ln w="9525">
            <a:solidFill>
              <a:srgbClr val="CC66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solidFill>
            <a:srgbClr val="FFFFFF">
              <a:alpha val="50195"/>
            </a:srgbClr>
          </a:solidFill>
          <a:ln w="9525">
            <a:solidFill>
              <a:srgbClr val="9933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43DDC01E-A2D1-4B4E-BBAB-7BD19CD3886F}" type="datetimeFigureOut">
              <a:rPr lang="ru-RU">
                <a:solidFill>
                  <a:prstClr val="black"/>
                </a:solidFill>
              </a:rPr>
              <a:pPr>
                <a:defRPr/>
              </a:pPr>
              <a:t>15.01.20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400" b="1">
                <a:latin typeface="+mn-lt"/>
                <a:cs typeface="+mn-cs"/>
              </a:defRPr>
            </a:lvl1pPr>
          </a:lstStyle>
          <a:p>
            <a:pPr>
              <a:defRPr/>
            </a:pPr>
            <a:fld id="{67254C92-00B9-4D01-B0C9-E8B134DFF75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87716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</p:sldLayoutIdLst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Century Gothic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Data" Target="../diagrams/data2.xml"/><Relationship Id="rId7" Type="http://schemas.openxmlformats.org/officeDocument/2006/relationships/diagramData" Target="../diagrams/data3.xml"/><Relationship Id="rId12" Type="http://schemas.microsoft.com/office/2007/relationships/diagramDrawing" Target="../diagrams/drawing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11" Type="http://schemas.microsoft.com/office/2007/relationships/diagramDrawing" Target="../diagrams/drawing2.xml"/><Relationship Id="rId5" Type="http://schemas.openxmlformats.org/officeDocument/2006/relationships/diagramQuickStyle" Target="../diagrams/quickStyle2.xml"/><Relationship Id="rId10" Type="http://schemas.openxmlformats.org/officeDocument/2006/relationships/diagramColors" Target="../diagrams/colors3.xml"/><Relationship Id="rId4" Type="http://schemas.openxmlformats.org/officeDocument/2006/relationships/diagramLayout" Target="../diagrams/layout2.xml"/><Relationship Id="rId9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10" Type="http://schemas.openxmlformats.org/officeDocument/2006/relationships/image" Target="../media/image9.png"/><Relationship Id="rId4" Type="http://schemas.openxmlformats.org/officeDocument/2006/relationships/image" Target="../media/image4.png"/><Relationship Id="rId9" Type="http://schemas.microsoft.com/office/2007/relationships/hdphoto" Target="../media/hdphoto1.wdp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87524" y="476672"/>
            <a:ext cx="8568952" cy="3600400"/>
          </a:xfrm>
          <a:solidFill>
            <a:srgbClr val="E97C2B">
              <a:alpha val="70000"/>
            </a:srgbClr>
          </a:solidFill>
          <a:effectLst>
            <a:softEdge rad="63500"/>
          </a:effectLst>
        </p:spPr>
        <p:txBody>
          <a:bodyPr/>
          <a:lstStyle/>
          <a:p>
            <a:r>
              <a:rPr lang="ru-RU" sz="320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бюджет </a:t>
            </a:r>
            <a:r>
              <a:rPr lang="ru-RU" sz="3200" cap="all" dirty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ГЕОРГИЕВСКОГО </a:t>
            </a:r>
            <a:r>
              <a:rPr lang="ru-RU" sz="320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городского округа СТАВРОПОЛЬСКОГО </a:t>
            </a:r>
            <a:r>
              <a:rPr lang="ru-RU" sz="3200" cap="all" dirty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КРАЯ на </a:t>
            </a:r>
            <a:r>
              <a:rPr lang="ru-RU" sz="320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2018 год и плановый период 2019 и 2020 годов</a:t>
            </a:r>
            <a:endParaRPr lang="ru-RU" sz="3200" cap="all" dirty="0">
              <a:ln w="9000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142976" y="4643446"/>
            <a:ext cx="6755698" cy="1872208"/>
          </a:xfrm>
          <a:prstGeom prst="rect">
            <a:avLst/>
          </a:prstGeom>
          <a:solidFill>
            <a:srgbClr val="E97C2B">
              <a:alpha val="70000"/>
            </a:srgbClr>
          </a:solidFill>
          <a:ln w="9525">
            <a:solidFill>
              <a:srgbClr val="CC6600"/>
            </a:solidFill>
            <a:miter lim="800000"/>
            <a:headEnd/>
            <a:tailEnd/>
          </a:ln>
          <a:effectLst>
            <a:softEdge rad="63500"/>
          </a:effec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tx2"/>
                </a:solidFill>
                <a:latin typeface="Century Gothic" pitchFamily="34" charset="0"/>
              </a:defRPr>
            </a:lvl9pPr>
          </a:lstStyle>
          <a:p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Заместитель главы администрации-начальник финансового управления администрации георгиевского городского округа </a:t>
            </a:r>
          </a:p>
          <a:p>
            <a:endParaRPr lang="ru-RU" sz="1900" kern="0" cap="all" dirty="0" smtClean="0">
              <a:ln w="9000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  <a:cs typeface="Times New Roman" panose="02020603050405020304" pitchFamily="18" charset="0"/>
            </a:endParaRPr>
          </a:p>
          <a:p>
            <a:r>
              <a:rPr lang="ru-RU" sz="1900" kern="0" cap="all" dirty="0" err="1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Дубовикова</a:t>
            </a:r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 </a:t>
            </a:r>
            <a:r>
              <a:rPr lang="ru-RU" sz="1900" kern="0" cap="all" dirty="0" err="1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ирина</a:t>
            </a:r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 </a:t>
            </a:r>
            <a:r>
              <a:rPr lang="ru-RU" sz="1900" kern="0" cap="all" dirty="0" err="1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игоревна</a:t>
            </a:r>
            <a:r>
              <a:rPr lang="ru-RU" sz="1900" kern="0" cap="all" dirty="0" smtClean="0">
                <a:ln w="9000" cmpd="sng">
                  <a:solidFill>
                    <a:schemeClr val="tx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anose="02050604050505020204" pitchFamily="18" charset="0"/>
                <a:cs typeface="Times New Roman" panose="02020603050405020304" pitchFamily="18" charset="0"/>
              </a:rPr>
              <a:t> </a:t>
            </a:r>
            <a:endParaRPr lang="ru-RU" sz="1900" kern="0" cap="all" dirty="0">
              <a:ln w="9000" cmpd="sng">
                <a:solidFill>
                  <a:schemeClr val="tx1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anose="020506040505050202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pPr>
              <a:defRPr/>
            </a:pPr>
            <a:r>
              <a:rPr lang="ru-RU" sz="2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собственных доходов </a:t>
            </a: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бюджета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Содержимое 5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="" xmlns:p14="http://schemas.microsoft.com/office/powerpoint/2010/main" val="411453533"/>
              </p:ext>
            </p:extLst>
          </p:nvPr>
        </p:nvGraphicFramePr>
        <p:xfrm>
          <a:off x="0" y="2115614"/>
          <a:ext cx="4572000" cy="47423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1778145" y="1468115"/>
            <a:ext cx="1111843" cy="400110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2017 год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6228184" y="1449857"/>
            <a:ext cx="1111843" cy="400110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2018 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graphicFrame>
        <p:nvGraphicFramePr>
          <p:cNvPr id="8" name="Содержимое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900404435"/>
              </p:ext>
            </p:extLst>
          </p:nvPr>
        </p:nvGraphicFramePr>
        <p:xfrm>
          <a:off x="4597358" y="2115614"/>
          <a:ext cx="4572000" cy="47423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="" xmlns:p14="http://schemas.microsoft.com/office/powerpoint/2010/main" val="201246242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упления в местный бюджет в 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993874021"/>
              </p:ext>
            </p:extLst>
          </p:nvPr>
        </p:nvGraphicFramePr>
        <p:xfrm>
          <a:off x="4572000" y="1052736"/>
          <a:ext cx="470154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781477806"/>
              </p:ext>
            </p:extLst>
          </p:nvPr>
        </p:nvGraphicFramePr>
        <p:xfrm>
          <a:off x="0" y="1196752"/>
          <a:ext cx="4686300" cy="5544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="" xmlns:p14="http://schemas.microsoft.com/office/powerpoint/2010/main" val="220104075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поступлений неналоговых доходов местного бюджета в 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300201656"/>
              </p:ext>
            </p:extLst>
          </p:nvPr>
        </p:nvGraphicFramePr>
        <p:xfrm>
          <a:off x="107504" y="1196751"/>
          <a:ext cx="8928992" cy="543311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714902"/>
                <a:gridCol w="5325298"/>
                <a:gridCol w="1429806"/>
                <a:gridCol w="1458986"/>
              </a:tblGrid>
              <a:tr h="14401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ходов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м </a:t>
                      </a: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уплений, (млн.</a:t>
                      </a:r>
                      <a:r>
                        <a:rPr lang="ru-RU" sz="1800" b="1" u="none" strike="noStrike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уб.)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ельный вес в </a:t>
                      </a:r>
                      <a:r>
                        <a:rPr lang="ru-RU" sz="18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е </a:t>
                      </a:r>
                      <a:r>
                        <a:rPr lang="ru-RU" sz="18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налоговых доходов, %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</a:tr>
              <a:tr h="295976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налоговые доходы всего, в том числе: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9,4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18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4643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использования имущества, находящегося в муниципальной собственности, из них: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,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,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3401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, получаемые в виде арендной платы за земельные участки 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,2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,8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718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сдачи в аренду имущества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5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5</a:t>
                      </a:r>
                      <a:endParaRPr lang="ru-RU" sz="18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ежи от государственных и муниципальных унитарных предприятий</a:t>
                      </a:r>
                      <a:endParaRPr lang="ru-RU" sz="1800" b="0" i="1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5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8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5623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а за негативное воздействие на окружающую среду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,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2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591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оказания платных услуг (работ) и компенсации затрат государства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,7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,6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295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 от реализации имущества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,4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0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  <a:tr h="295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i="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</a:t>
                      </a:r>
                      <a:r>
                        <a:rPr lang="ru-RU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афы</a:t>
                      </a:r>
                      <a:r>
                        <a:rPr lang="ru-RU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санкции, возмещение ущерб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,8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8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,1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422073550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40466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акторы влияющие на структуру расходов местного бюджета в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Shape 7"/>
          <p:cNvSpPr/>
          <p:nvPr/>
        </p:nvSpPr>
        <p:spPr>
          <a:xfrm>
            <a:off x="974050" y="1988840"/>
            <a:ext cx="7920880" cy="4320480"/>
          </a:xfrm>
          <a:prstGeom prst="swooshArrow">
            <a:avLst>
              <a:gd name="adj1" fmla="val 25504"/>
              <a:gd name="adj2" fmla="val 25000"/>
            </a:avLst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</p:sp>
      <p:sp>
        <p:nvSpPr>
          <p:cNvPr id="11" name="Овал 10"/>
          <p:cNvSpPr/>
          <p:nvPr/>
        </p:nvSpPr>
        <p:spPr bwMode="auto">
          <a:xfrm>
            <a:off x="45219" y="4653136"/>
            <a:ext cx="1361372" cy="1296144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+31,4</a:t>
            </a:r>
          </a:p>
        </p:txBody>
      </p:sp>
      <p:sp>
        <p:nvSpPr>
          <p:cNvPr id="15" name="TextBox 1"/>
          <p:cNvSpPr txBox="1"/>
          <p:nvPr/>
        </p:nvSpPr>
        <p:spPr>
          <a:xfrm>
            <a:off x="8127228" y="134076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25" name="Овал 24"/>
          <p:cNvSpPr/>
          <p:nvPr/>
        </p:nvSpPr>
        <p:spPr bwMode="auto">
          <a:xfrm>
            <a:off x="6755365" y="1260168"/>
            <a:ext cx="1371863" cy="1332647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+14,7</a:t>
            </a:r>
          </a:p>
        </p:txBody>
      </p:sp>
      <p:sp>
        <p:nvSpPr>
          <p:cNvPr id="9" name="Овал 8"/>
          <p:cNvSpPr/>
          <p:nvPr/>
        </p:nvSpPr>
        <p:spPr bwMode="auto">
          <a:xfrm>
            <a:off x="1168236" y="3236644"/>
            <a:ext cx="1453244" cy="1416492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+52,5</a:t>
            </a:r>
          </a:p>
        </p:txBody>
      </p:sp>
      <p:sp>
        <p:nvSpPr>
          <p:cNvPr id="22" name="Овал 21"/>
          <p:cNvSpPr/>
          <p:nvPr/>
        </p:nvSpPr>
        <p:spPr bwMode="auto">
          <a:xfrm>
            <a:off x="4759767" y="1571347"/>
            <a:ext cx="1452258" cy="140547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61,2</a:t>
            </a: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0" y="6044956"/>
            <a:ext cx="2051511" cy="57606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указов Президента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1643633" y="4686807"/>
            <a:ext cx="2027578" cy="7920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величение МРОТ</a:t>
            </a: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4860958" y="3016708"/>
            <a:ext cx="2089783" cy="113237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финансирование 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участия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государственных программах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6950741" y="2604984"/>
            <a:ext cx="2132156" cy="71650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оритетные расходы</a:t>
            </a:r>
          </a:p>
        </p:txBody>
      </p:sp>
      <p:sp>
        <p:nvSpPr>
          <p:cNvPr id="13" name="Овал 12"/>
          <p:cNvSpPr/>
          <p:nvPr/>
        </p:nvSpPr>
        <p:spPr bwMode="auto">
          <a:xfrm>
            <a:off x="2874801" y="2213998"/>
            <a:ext cx="1452258" cy="1405470"/>
          </a:xfrm>
          <a:prstGeom prst="ellipse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18,6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2803393" y="3680231"/>
            <a:ext cx="1982461" cy="79457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тание (установление единого меню)</a:t>
            </a:r>
          </a:p>
        </p:txBody>
      </p:sp>
    </p:spTree>
    <p:extLst>
      <p:ext uri="{BB962C8B-B14F-4D97-AF65-F5344CB8AC3E}">
        <p14:creationId xmlns="" xmlns:p14="http://schemas.microsoft.com/office/powerpoint/2010/main" val="25610786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7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45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2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6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75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7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7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25" grpId="0" animBg="1"/>
      <p:bldP spid="9" grpId="0" animBg="1"/>
      <p:bldP spid="22" grpId="0" animBg="1"/>
      <p:bldP spid="17" grpId="0" animBg="1"/>
      <p:bldP spid="18" grpId="0" animBg="1"/>
      <p:bldP spid="24" grpId="0" animBg="1"/>
      <p:bldP spid="26" grpId="0" animBg="1"/>
      <p:bldP spid="13" grpId="0" animBg="1"/>
      <p:bldP spid="1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028998015"/>
              </p:ext>
            </p:extLst>
          </p:nvPr>
        </p:nvGraphicFramePr>
        <p:xfrm>
          <a:off x="71501" y="1099204"/>
          <a:ext cx="8964996" cy="549814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4663243"/>
                <a:gridCol w="867580"/>
                <a:gridCol w="939879"/>
                <a:gridCol w="1373669"/>
                <a:gridCol w="1120625"/>
              </a:tblGrid>
              <a:tr h="967810">
                <a:tc rowSpan="2"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тегория  работников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 по дорожной карте, % 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яя  заработная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та</a:t>
                      </a: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руб.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175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год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учетом уточнения) 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 </a:t>
                      </a:r>
                      <a:endParaRPr lang="ru-RU" sz="2000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t"/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)  </a:t>
                      </a:r>
                      <a:endParaRPr lang="ru-RU" sz="20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97494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месячный  доход  от  трудовой деятельности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66,9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11276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 работники  детских садов 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5,6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1014839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 работники  учреждений дополнительного  образования  детей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7,5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77866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дагогические  работники  школ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0,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2,2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</a:tr>
              <a:tr h="511276">
                <a:tc>
                  <a:txBody>
                    <a:bodyPr/>
                    <a:lstStyle/>
                    <a:p>
                      <a:pPr algn="l" rtl="0" fontAlgn="t">
                        <a:lnSpc>
                          <a:spcPts val="1500"/>
                        </a:lnSpc>
                      </a:pPr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ники  учреждений  культуры 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20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endParaRPr lang="ru-RU" sz="2000" b="1" i="0" u="none" strike="noStrike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4200" marR="4200" marT="420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 </a:t>
                      </a:r>
                      <a:r>
                        <a:rPr lang="ru-RU" sz="200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1,0</a:t>
                      </a:r>
                      <a:endParaRPr lang="ru-RU" sz="20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200" marR="4200" marT="4200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4200" marR="4200" marT="4200" marB="0" anchor="ctr"/>
                </a:tc>
              </a:tr>
            </a:tbl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640960" cy="792088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pPr>
              <a:lnSpc>
                <a:spcPct val="80000"/>
              </a:lnSpc>
              <a:defRPr/>
            </a:pP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платы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руда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тдельных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атегорий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ботников бюджетной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феры 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2018</a:t>
            </a:r>
            <a:r>
              <a:rPr lang="en-US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ду </a:t>
            </a:r>
          </a:p>
        </p:txBody>
      </p:sp>
    </p:spTree>
    <p:extLst>
      <p:ext uri="{BB962C8B-B14F-4D97-AF65-F5344CB8AC3E}">
        <p14:creationId xmlns="" xmlns:p14="http://schemas.microsoft.com/office/powerpoint/2010/main" val="77144638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504056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altLang="ru-RU" sz="2800" dirty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мальный размер оплаты </a:t>
            </a:r>
            <a:r>
              <a:rPr lang="ru-RU" altLang="ru-RU" sz="2800" dirty="0" smtClean="0">
                <a:ln w="0"/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а</a:t>
            </a:r>
            <a:endParaRPr lang="ru-RU" sz="2800" dirty="0">
              <a:ln w="0"/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="" xmlns:p14="http://schemas.microsoft.com/office/powerpoint/2010/main" val="5867339"/>
              </p:ext>
            </p:extLst>
          </p:nvPr>
        </p:nvGraphicFramePr>
        <p:xfrm>
          <a:off x="179512" y="1166642"/>
          <a:ext cx="8640960" cy="5561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Скругленный прямоугольник 14"/>
          <p:cNvSpPr/>
          <p:nvPr/>
        </p:nvSpPr>
        <p:spPr>
          <a:xfrm>
            <a:off x="395536" y="6008102"/>
            <a:ext cx="6264696" cy="50405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14400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n w="3175" cmpd="sng">
                  <a:solidFill>
                    <a:schemeClr val="tx2">
                      <a:lumMod val="50000"/>
                    </a:schemeClr>
                  </a:solidFill>
                  <a:prstDash val="solid"/>
                </a:ln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+ </a:t>
            </a:r>
            <a:r>
              <a:rPr lang="ru-RU" sz="1800" dirty="0" smtClean="0">
                <a:ln>
                  <a:solidFill>
                    <a:schemeClr val="tx2">
                      <a:lumMod val="50000"/>
                    </a:schemeClr>
                  </a:solidFill>
                </a:ln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ые расходы местного бюджета (млн. руб.)</a:t>
            </a:r>
            <a:endParaRPr lang="ru-RU" sz="1800" dirty="0">
              <a:ln>
                <a:solidFill>
                  <a:schemeClr val="tx2">
                    <a:lumMod val="50000"/>
                  </a:schemeClr>
                </a:solidFill>
              </a:ln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"/>
          <p:cNvSpPr txBox="1"/>
          <p:nvPr/>
        </p:nvSpPr>
        <p:spPr>
          <a:xfrm>
            <a:off x="8189107" y="759969"/>
            <a:ext cx="508038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уб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  <p:extLst>
      <p:ext uri="{BB962C8B-B14F-4D97-AF65-F5344CB8AC3E}">
        <p14:creationId xmlns="" xmlns:p14="http://schemas.microsoft.com/office/powerpoint/2010/main" val="194257227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0862"/>
            <a:ext cx="8229600" cy="83034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частие в государственных программах Ставропольского края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98072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62786" y="1447993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е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85587" y="1447993"/>
            <a:ext cx="1738542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,20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157433" y="2147106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985586" y="2136362"/>
            <a:ext cx="1738543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,00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57432" y="2846219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порт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85586" y="2836866"/>
            <a:ext cx="1738543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,50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157431" y="3586559"/>
            <a:ext cx="2664297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КХ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91990" y="3577061"/>
            <a:ext cx="1732139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,05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57430" y="4285672"/>
            <a:ext cx="2664297" cy="101566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ая среда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85586" y="4516504"/>
            <a:ext cx="1738544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,36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57430" y="5507331"/>
            <a:ext cx="2664297" cy="101566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ные инициативы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991990" y="5738163"/>
            <a:ext cx="1732139" cy="553998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,48</a:t>
            </a:r>
            <a:endParaRPr lang="ru-RU" sz="3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7" name="Picture 4" descr="D:\Users\krdoas\Desktop\ДЛЯ ПРЕЗЕНТАЦИЙ\для планерок нов дизайн\profil.png"/>
          <p:cNvPicPr>
            <a:picLocks noChangeAspect="1" noChangeArrowheads="1"/>
          </p:cNvPicPr>
          <p:nvPr/>
        </p:nvPicPr>
        <p:blipFill>
          <a:blip r:embed="rId4" cstate="print">
            <a:grayscl/>
            <a:lum bright="-100000"/>
          </a:blip>
          <a:srcRect/>
          <a:stretch>
            <a:fillRect/>
          </a:stretch>
        </p:blipFill>
        <p:spPr bwMode="auto">
          <a:xfrm>
            <a:off x="251520" y="1317085"/>
            <a:ext cx="782462" cy="769095"/>
          </a:xfrm>
          <a:prstGeom prst="rect">
            <a:avLst/>
          </a:prstGeom>
          <a:noFill/>
        </p:spPr>
      </p:pic>
      <p:pic>
        <p:nvPicPr>
          <p:cNvPr id="18" name="Picture 1" descr="D:\Users\expriv\Desktop\mask_dc1966a7fce1d82dca7cd114effdf59b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tx2">
                <a:tint val="45000"/>
                <a:satMod val="400000"/>
              </a:schemeClr>
            </a:duotone>
            <a:lum bright="-100000"/>
          </a:blip>
          <a:srcRect/>
          <a:stretch>
            <a:fillRect/>
          </a:stretch>
        </p:blipFill>
        <p:spPr bwMode="auto">
          <a:xfrm>
            <a:off x="202836" y="1983679"/>
            <a:ext cx="879830" cy="817095"/>
          </a:xfrm>
          <a:prstGeom prst="rect">
            <a:avLst/>
          </a:prstGeom>
          <a:noFill/>
        </p:spPr>
      </p:pic>
      <p:pic>
        <p:nvPicPr>
          <p:cNvPr id="19" name="Picture 2" descr="&amp;Pcy;&amp;ocy;&amp;khcy;&amp;ocy;&amp;zhcy;&amp;iecy;&amp;iecy; &amp;icy;&amp;zcy;&amp;ocy;&amp;bcy;&amp;rcy;&amp;acy;&amp;zhcy;&amp;iecy;&amp;ncy;&amp;icy;&amp;iecy;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2836" y="2800774"/>
            <a:ext cx="790739" cy="699386"/>
          </a:xfrm>
          <a:prstGeom prst="rect">
            <a:avLst/>
          </a:prstGeom>
          <a:noFill/>
        </p:spPr>
      </p:pic>
      <p:pic>
        <p:nvPicPr>
          <p:cNvPr id="20" name="Picture 4" descr="D:\Users\exfias\Desktop\логотип2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4353" y="5507331"/>
            <a:ext cx="938313" cy="806373"/>
          </a:xfrm>
          <a:prstGeom prst="rect">
            <a:avLst/>
          </a:prstGeom>
          <a:noFill/>
        </p:spPr>
      </p:pic>
      <p:pic>
        <p:nvPicPr>
          <p:cNvPr id="21" name="Picture 25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>
            <a:extLst>
              <a:ext uri="{BEBA8EAE-BF5A-486C-A8C5-ECC9F3942E4B}">
                <a14:imgProps xmlns="" xmlns:a14="http://schemas.microsoft.com/office/drawing/2010/main">
                  <a14:imgLayer r:embed="rId9">
                    <a14:imgEffect>
                      <a14:artisticPaintStrokes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157218" y="4465715"/>
            <a:ext cx="876764" cy="744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99770" y="3593492"/>
            <a:ext cx="809498" cy="60712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084168" y="3144779"/>
            <a:ext cx="2808312" cy="646331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∑= 56,59</a:t>
            </a:r>
            <a:endParaRPr lang="ru-RU" sz="3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7943904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00023"/>
            <a:ext cx="8229600" cy="520665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ддержка местных инициатив</a:t>
            </a:r>
            <a:endParaRPr lang="ru-RU" sz="2800" dirty="0">
              <a:solidFill>
                <a:schemeClr val="bg1"/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/>
          </p:nvPr>
        </p:nvGraphicFramePr>
        <p:xfrm>
          <a:off x="107502" y="1129159"/>
          <a:ext cx="8928995" cy="4045261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396617"/>
                <a:gridCol w="1143520"/>
                <a:gridCol w="1796286"/>
                <a:gridCol w="1796286"/>
                <a:gridCol w="1796286"/>
              </a:tblGrid>
              <a:tr h="77897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п </a:t>
                      </a:r>
                      <a:endParaRPr lang="ru-RU" sz="1600" b="1" u="none" strike="noStrike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rtl="0" fontAlgn="ctr"/>
                      <a:r>
                        <a:rPr lang="ru-RU" sz="16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ект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проектов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ства краевого бюджет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ства местного бюджет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бюджетные средства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35196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льские поселения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72293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агоустройство </a:t>
                      </a:r>
                      <a:r>
                        <a:rPr lang="ru-RU" sz="16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рритории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9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4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615794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монт объектов культуры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,</a:t>
                      </a:r>
                      <a:r>
                        <a:rPr lang="ru-RU" sz="1600" b="0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32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4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716187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кты физической культуры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7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9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60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4297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рожная деятельность 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77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18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42970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: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,9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22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7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8121927" y="71637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07502" y="5373216"/>
          <a:ext cx="8928995" cy="1312499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396617"/>
                <a:gridCol w="1143520"/>
                <a:gridCol w="1796286"/>
                <a:gridCol w="1796286"/>
                <a:gridCol w="1796286"/>
              </a:tblGrid>
              <a:tr h="32320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Георгиевск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9375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курс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5 декабря </a:t>
                      </a: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года</a:t>
                      </a:r>
                      <a:endParaRPr lang="ru-RU" sz="1600" b="1" i="0" u="none" strike="noStrike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0747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5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0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6</a:t>
                      </a:r>
                      <a:endParaRPr lang="ru-RU" sz="1600" b="0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/>
                </a:tc>
              </a:tr>
              <a:tr h="49375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:</a:t>
                      </a:r>
                    </a:p>
                  </a:txBody>
                  <a:tcPr marL="70747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5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26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861" marR="7861" marT="7861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53066783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1" y="116632"/>
            <a:ext cx="8835507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местного бюджета на решение приоритетных вопрос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1"/>
          <p:cNvSpPr txBox="1"/>
          <p:nvPr/>
        </p:nvSpPr>
        <p:spPr>
          <a:xfrm>
            <a:off x="8170153" y="1340768"/>
            <a:ext cx="842619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423261061"/>
              </p:ext>
            </p:extLst>
          </p:nvPr>
        </p:nvGraphicFramePr>
        <p:xfrm>
          <a:off x="0" y="1071546"/>
          <a:ext cx="9144000" cy="57864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52764265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изменений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ых учреждений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443445" y="2387381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азенные 61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03485" y="1512687"/>
            <a:ext cx="1656184" cy="52322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 год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683152" y="1506934"/>
            <a:ext cx="1656184" cy="52322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8 год</a:t>
            </a:r>
            <a:endParaRPr lang="ru-RU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443445" y="4212775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55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6323112" y="2387381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азенные 3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043491" y="2604275"/>
            <a:ext cx="795982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24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трелка вправо 13"/>
          <p:cNvSpPr/>
          <p:nvPr/>
        </p:nvSpPr>
        <p:spPr bwMode="auto">
          <a:xfrm rot="2192038">
            <a:off x="3750234" y="3670223"/>
            <a:ext cx="1591603" cy="396044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355506" y="4429669"/>
            <a:ext cx="728662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4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93495" y="5805264"/>
            <a:ext cx="1476164" cy="7078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l-GR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Σ</a:t>
            </a: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16</a:t>
            </a:r>
            <a:endParaRPr lang="ru-RU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717635" y="5805264"/>
            <a:ext cx="1512168" cy="707886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l-GR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Σ</a:t>
            </a:r>
            <a:r>
              <a:rPr lang="ru-RU" sz="4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94</a:t>
            </a:r>
            <a:endParaRPr lang="ru-RU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017588" y="4429668"/>
            <a:ext cx="720080" cy="646331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2</a:t>
            </a:r>
            <a:endParaRPr lang="ru-RU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443445" y="4212773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55</a:t>
            </a: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6320880" y="4212775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33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6320880" y="4212773"/>
            <a:ext cx="2376264" cy="108012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57</a:t>
            </a:r>
          </a:p>
        </p:txBody>
      </p:sp>
    </p:spTree>
    <p:extLst>
      <p:ext uri="{BB962C8B-B14F-4D97-AF65-F5344CB8AC3E}">
        <p14:creationId xmlns="" xmlns:p14="http://schemas.microsoft.com/office/powerpoint/2010/main" val="340242085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75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2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750"/>
                            </p:stCondLst>
                            <p:childTnLst>
                              <p:par>
                                <p:cTn id="3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4250"/>
                            </p:stCondLst>
                            <p:childTnLst>
                              <p:par>
                                <p:cTn id="4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475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9" grpId="0" animBg="1"/>
      <p:bldP spid="3" grpId="0" animBg="1"/>
      <p:bldP spid="14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864096"/>
          </a:xfrm>
          <a:solidFill>
            <a:srgbClr val="E97C2B">
              <a:alpha val="70195"/>
            </a:srgbClr>
          </a:solidFill>
          <a:effectLst>
            <a:softEdge rad="0"/>
          </a:effectLst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 бюджетной политики на 2018 год и плановый период 2019 и 2020 год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Схема 7"/>
          <p:cNvGraphicFramePr/>
          <p:nvPr>
            <p:extLst>
              <p:ext uri="{D42A27DB-BD31-4B8C-83A1-F6EECF244321}">
                <p14:modId xmlns="" xmlns:p14="http://schemas.microsoft.com/office/powerpoint/2010/main" val="2028871073"/>
              </p:ext>
            </p:extLst>
          </p:nvPr>
        </p:nvGraphicFramePr>
        <p:xfrm>
          <a:off x="146123" y="1484784"/>
          <a:ext cx="8851754" cy="48245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="" xmlns:p14="http://schemas.microsoft.com/office/powerpoint/2010/main" val="151626372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32876" y="116632"/>
            <a:ext cx="8361288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pPr>
              <a:defRPr sz="1600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pPr>
            <a:r>
              <a:rPr lang="ru-RU" sz="2800" b="0" kern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  <a:r>
              <a:rPr lang="ru-RU" sz="2800" b="0" kern="12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бюджета в 2017-2020 </a:t>
            </a:r>
            <a:r>
              <a:rPr lang="ru-RU" sz="2800" b="0" kern="12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х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764219291"/>
              </p:ext>
            </p:extLst>
          </p:nvPr>
        </p:nvGraphicFramePr>
        <p:xfrm>
          <a:off x="0" y="1124744"/>
          <a:ext cx="9144000" cy="573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1"/>
          <p:cNvSpPr txBox="1"/>
          <p:nvPr/>
        </p:nvSpPr>
        <p:spPr>
          <a:xfrm>
            <a:off x="8028384" y="141277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</p:spTree>
    <p:extLst>
      <p:ext uri="{BB962C8B-B14F-4D97-AF65-F5344CB8AC3E}">
        <p14:creationId xmlns="" xmlns:p14="http://schemas.microsoft.com/office/powerpoint/2010/main" val="421473068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</a:rPr>
              <a:t>Доля социальных расходов </a:t>
            </a:r>
            <a:br>
              <a:rPr lang="ru-RU" sz="2800" dirty="0">
                <a:solidFill>
                  <a:schemeClr val="bg1"/>
                </a:solidFill>
                <a:latin typeface="Times New Roman" pitchFamily="18" charset="0"/>
              </a:rPr>
            </a:br>
            <a:r>
              <a:rPr lang="ru-RU" sz="2800" dirty="0">
                <a:solidFill>
                  <a:schemeClr val="bg1"/>
                </a:solidFill>
                <a:latin typeface="Times New Roman" pitchFamily="18" charset="0"/>
              </a:rPr>
              <a:t>в местном бюджете в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</a:rPr>
              <a:t>2018 году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="" xmlns:p14="http://schemas.microsoft.com/office/powerpoint/2010/main" val="2708926056"/>
              </p:ext>
            </p:extLst>
          </p:nvPr>
        </p:nvGraphicFramePr>
        <p:xfrm>
          <a:off x="-1692696" y="1643050"/>
          <a:ext cx="10693852" cy="5214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6827025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78098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</a:rPr>
              <a:t>Функциональная структура расход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1"/>
          <p:cNvSpPr txBox="1"/>
          <p:nvPr/>
        </p:nvSpPr>
        <p:spPr>
          <a:xfrm>
            <a:off x="8100392" y="980728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Group 14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91086894"/>
              </p:ext>
            </p:extLst>
          </p:nvPr>
        </p:nvGraphicFramePr>
        <p:xfrm>
          <a:off x="107504" y="1412777"/>
          <a:ext cx="8928992" cy="5159491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078106"/>
                <a:gridCol w="1422577"/>
                <a:gridCol w="1422577"/>
                <a:gridCol w="1580892"/>
                <a:gridCol w="1424840"/>
              </a:tblGrid>
              <a:tr h="8067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раздел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017 год (в сопоставимых условиях)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96349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государственные вопросы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75,03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7,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8,5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,2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19834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Национальная оборона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3,22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 horzOverflow="overflow"/>
                </a:tc>
              </a:tr>
              <a:tr h="54371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циональная безопасность и правоохранительная деятельность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3,17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,3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,0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,9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2109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циональная эконом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163,25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0,3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,5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,0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54371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илищно-коммунальное хозяйство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89,19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,9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,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,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2109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разование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1 309,43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394,8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20,1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11,8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2109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льтура, кинематограф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124,82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9,9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4,3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2,4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2109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885,87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7,6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9,3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4,4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88257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ая культура и спорт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9,42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,2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7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,7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555425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служивание муниципального долг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,0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5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  <a:tr h="321093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 расходов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anose="02020603050405020304" pitchFamily="18" charset="0"/>
                        </a:rPr>
                        <a:t>2 885,4</a:t>
                      </a: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098,3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51,4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09,3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 horzOverflow="overflow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403607928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97896"/>
            <a:ext cx="8229600" cy="634082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Дорожное хозяйство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8172400" y="828963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39610" y="1285925"/>
            <a:ext cx="2592288" cy="162119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39610" y="3079862"/>
            <a:ext cx="2592288" cy="172819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987821" y="1264176"/>
            <a:ext cx="4941765" cy="132343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и ремонт автомобильных дорог общего пользования муниципального значения и инженерных сооружений вдоль дорог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>
            <a:spLocks/>
          </p:cNvSpPr>
          <p:nvPr/>
        </p:nvSpPr>
        <p:spPr>
          <a:xfrm>
            <a:off x="3000364" y="2643182"/>
            <a:ext cx="4929222" cy="1323439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рожный фонд ( в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ом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исле: акцизы на нефтепродукты – 31,9 млн. руб.;  участие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П по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монту автомобильных дорог населенных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ов - 7,9 млн. руб.) 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000364" y="4071942"/>
            <a:ext cx="4929222" cy="707886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безопасности дорожного движения 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>
            <a:spLocks noChangeAspect="1"/>
          </p:cNvSpPr>
          <p:nvPr/>
        </p:nvSpPr>
        <p:spPr>
          <a:xfrm>
            <a:off x="8072462" y="1666008"/>
            <a:ext cx="942500" cy="40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7,22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072462" y="3071810"/>
            <a:ext cx="942500" cy="40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9,83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072462" y="4214818"/>
            <a:ext cx="942500" cy="40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,00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00430" y="5929330"/>
            <a:ext cx="3279767" cy="830997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4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∑= 211,05</a:t>
            </a:r>
            <a:endParaRPr lang="ru-RU" sz="4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39610" y="4965556"/>
            <a:ext cx="2592288" cy="1800144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3000364" y="4857760"/>
            <a:ext cx="4929222" cy="1015663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Капитальный ремонт и ремонт автомобильных дорог общего пользования местного значения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072462" y="5143512"/>
            <a:ext cx="942500" cy="400110"/>
          </a:xfrm>
          <a:prstGeom prst="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0,00</a:t>
            </a:r>
            <a:endParaRPr lang="ru-RU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71097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589" y="116632"/>
            <a:ext cx="8658891" cy="864096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характеристики </a:t>
            </a: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бюджета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2303748" y="2816932"/>
            <a:ext cx="1696748" cy="363640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ходы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 025,35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5436096" y="2812875"/>
            <a:ext cx="1656184" cy="364046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 098,39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315106" y="2164803"/>
            <a:ext cx="1685389" cy="648072"/>
          </a:xfrm>
          <a:prstGeom prst="rect">
            <a:avLst/>
          </a:prstGeom>
          <a:pattFill prst="wdDnDiag">
            <a:fgClr>
              <a:schemeClr val="accent2">
                <a:lumMod val="75000"/>
              </a:schemeClr>
            </a:fgClr>
            <a:bgClr>
              <a:srgbClr val="FF0000"/>
            </a:bgClr>
          </a:pattFill>
          <a:ln w="6350"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3,04 млн. руб.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Стрелка вправо 6"/>
          <p:cNvSpPr/>
          <p:nvPr/>
        </p:nvSpPr>
        <p:spPr bwMode="auto">
          <a:xfrm>
            <a:off x="233589" y="1088740"/>
            <a:ext cx="1719839" cy="1728192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статки на 01.01.18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5436096" y="2143116"/>
            <a:ext cx="1656184" cy="669759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,6 млн. руб.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1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22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23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" dur="250" autoRev="1" fill="remove"/>
                                        <p:tgtEl>
                                          <p:spTgt spid="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1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2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3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4" dur="250" autoRev="1" fill="remove"/>
                                        <p:tgtEl>
                                          <p:spTgt spid="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6" grpId="1" animBg="1"/>
      <p:bldP spid="7" grpId="0" animBg="1"/>
      <p:bldP spid="8" grpId="0" animBg="1"/>
      <p:bldP spid="8" grpId="1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589" y="116632"/>
            <a:ext cx="8658891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местного бюджета в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18 </a:t>
            </a:r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у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71600" y="5301208"/>
            <a:ext cx="7344816" cy="360000"/>
          </a:xfrm>
          <a:prstGeom prst="rect">
            <a:avLst/>
          </a:prstGeom>
          <a:ln/>
          <a:scene3d>
            <a:camera prst="orthographicFront">
              <a:rot lat="0" lon="0" rev="0"/>
            </a:camera>
            <a:lightRig rig="threePt" dir="t"/>
          </a:scene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Равнобедренный треугольник 8"/>
          <p:cNvSpPr/>
          <p:nvPr/>
        </p:nvSpPr>
        <p:spPr>
          <a:xfrm>
            <a:off x="4211960" y="5733256"/>
            <a:ext cx="864096" cy="936104"/>
          </a:xfrm>
          <a:prstGeom prst="triangle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971600" y="4293096"/>
            <a:ext cx="1728192" cy="997658"/>
          </a:xfrm>
          <a:prstGeom prst="round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Доходы 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3 025,35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588224" y="3429000"/>
            <a:ext cx="1728192" cy="1872208"/>
          </a:xfrm>
          <a:prstGeom prst="roundRect">
            <a:avLst/>
          </a:prstGeom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3 098,39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71600" y="3429000"/>
            <a:ext cx="1728192" cy="86409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Остатки </a:t>
            </a:r>
            <a:endParaRPr lang="ru-RU" dirty="0">
              <a:solidFill>
                <a:prstClr val="white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101,6 </a:t>
            </a:r>
          </a:p>
          <a:p>
            <a:pPr algn="ctr"/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млн</a:t>
            </a:r>
            <a:r>
              <a:rPr lang="ru-RU" dirty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dirty="0" smtClean="0">
                <a:solidFill>
                  <a:prstClr val="white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551080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6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6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7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8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9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4250"/>
                            </p:stCondLst>
                            <p:childTnLst>
                              <p:par>
                                <p:cTn id="55" presetID="32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Rot by="120000">
                                      <p:cBhvr>
                                        <p:cTn id="56" dur="1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7" dur="2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240000">
                                      <p:cBhvr>
                                        <p:cTn id="58" dur="200" fill="hold">
                                          <p:stCondLst>
                                            <p:cond delay="4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-240000">
                                      <p:cBhvr>
                                        <p:cTn id="59" dur="200" fill="hold">
                                          <p:stCondLst>
                                            <p:cond delay="6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  <p:animRot by="120000">
                                      <p:cBhvr>
                                        <p:cTn id="60" dur="2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1" y="116632"/>
            <a:ext cx="8835507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показатели местного бюджета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18 год и плановый период 2019 и 2020 годов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1"/>
          <p:cNvSpPr txBox="1"/>
          <p:nvPr/>
        </p:nvSpPr>
        <p:spPr>
          <a:xfrm>
            <a:off x="8170153" y="1340768"/>
            <a:ext cx="842619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106751651"/>
              </p:ext>
            </p:extLst>
          </p:nvPr>
        </p:nvGraphicFramePr>
        <p:xfrm>
          <a:off x="130516" y="1821254"/>
          <a:ext cx="8882255" cy="4712946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722887"/>
                <a:gridCol w="1539842"/>
                <a:gridCol w="1539842"/>
                <a:gridCol w="1539842"/>
                <a:gridCol w="1539842"/>
              </a:tblGrid>
              <a:tr h="1093838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r>
                        <a:rPr lang="en-US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д 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2400" u="none" strike="noStrike" dirty="0" err="1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на</a:t>
                      </a:r>
                      <a:r>
                        <a:rPr lang="en-US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ru-RU" sz="2400" u="none" strike="noStrike" dirty="0" err="1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альный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144000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2200"/>
                        </a:lnSpc>
                      </a:pP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b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роект)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2200"/>
                        </a:lnSpc>
                      </a:pP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 </a:t>
                      </a:r>
                      <a:b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роект)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2200"/>
                        </a:lnSpc>
                      </a:pP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 </a:t>
                      </a:r>
                      <a:b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проект)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5708" marT="5708" marB="0" anchor="ctr"/>
                </a:tc>
              </a:tr>
              <a:tr h="720080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ходы, из них: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965,4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025,35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36,43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24,34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38788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логовые 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 неналоговые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3,50 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6,3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1,6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9,9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01372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сходы</a:t>
                      </a:r>
                      <a:endParaRPr lang="ru-RU" sz="2400" b="0" i="0" u="none" strike="noStrike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014,2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2400" b="1" u="none" strike="noStrike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098,39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51,43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809,34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20080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фицит/</a:t>
                      </a:r>
                      <a:r>
                        <a:rPr lang="ru-RU" sz="2400" u="none" strike="noStrike" dirty="0" err="1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фицит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48,8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73,04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15,0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  <a:tr h="738788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ый  </a:t>
                      </a:r>
                      <a:r>
                        <a:rPr lang="ru-RU" sz="2400" u="none" strike="noStrike" dirty="0">
                          <a:ln>
                            <a:solidFill>
                              <a:schemeClr val="tx1"/>
                            </a:solidFill>
                          </a:ln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г</a:t>
                      </a:r>
                      <a:endParaRPr lang="ru-RU" sz="2400" b="0" i="0" u="none" strike="noStrike" dirty="0">
                        <a:ln>
                          <a:solidFill>
                            <a:schemeClr val="tx1"/>
                          </a:solidFill>
                        </a:ln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44000" marR="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30 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kern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,60</a:t>
                      </a:r>
                      <a:endParaRPr lang="ru-RU" sz="2400" b="1" i="0" u="none" strike="noStrike" kern="1200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0 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2400" b="1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,00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708" marR="180000" marT="5708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32295927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местного бюджета </a:t>
            </a: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</a:t>
            </a:r>
            <a:r>
              <a:rPr lang="ru-RU" sz="2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у</a:t>
            </a:r>
            <a:endParaRPr lang="ru-RU" sz="2800" dirty="0">
              <a:solidFill>
                <a:schemeClr val="bg1"/>
              </a:solidFill>
            </a:endParaRPr>
          </a:p>
        </p:txBody>
      </p:sp>
      <p:sp>
        <p:nvSpPr>
          <p:cNvPr id="4" name="Oval 5"/>
          <p:cNvSpPr>
            <a:spLocks noChangeArrowheads="1"/>
          </p:cNvSpPr>
          <p:nvPr/>
        </p:nvSpPr>
        <p:spPr bwMode="auto">
          <a:xfrm>
            <a:off x="1320800" y="1765300"/>
            <a:ext cx="4445000" cy="4327525"/>
          </a:xfrm>
          <a:prstGeom prst="ellipse">
            <a:avLst/>
          </a:prstGeom>
          <a:solidFill>
            <a:schemeClr val="accent5">
              <a:lumMod val="7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t"/>
          <a:lstStyle/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3 085,62 млн</a:t>
            </a:r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</a:rPr>
              <a:t>. руб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. 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99,6%)</a:t>
            </a:r>
          </a:p>
          <a:p>
            <a:endParaRPr lang="ru-RU" sz="2400" b="1" dirty="0">
              <a:solidFill>
                <a:schemeClr val="bg1"/>
              </a:solidFill>
              <a:latin typeface="Times New Roman" pitchFamily="18" charset="0"/>
            </a:endParaRPr>
          </a:p>
          <a:p>
            <a:endParaRPr lang="ru-RU" sz="2400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5" name="Oval 6"/>
          <p:cNvSpPr>
            <a:spLocks noChangeArrowheads="1"/>
          </p:cNvSpPr>
          <p:nvPr/>
        </p:nvSpPr>
        <p:spPr bwMode="auto">
          <a:xfrm>
            <a:off x="1714500" y="3571875"/>
            <a:ext cx="2137420" cy="2233613"/>
          </a:xfrm>
          <a:prstGeom prst="ellipse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sz="2400" b="1" dirty="0" smtClean="0">
              <a:solidFill>
                <a:schemeClr val="bg1"/>
              </a:solidFill>
              <a:latin typeface="Times New Roman" pitchFamily="18" charset="0"/>
            </a:endParaRP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12,77 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млн</a:t>
            </a:r>
            <a:r>
              <a:rPr lang="ru-RU" sz="2400" b="1" dirty="0">
                <a:solidFill>
                  <a:schemeClr val="bg1"/>
                </a:solidFill>
                <a:latin typeface="Times New Roman" pitchFamily="18" charset="0"/>
              </a:rPr>
              <a:t>. руб</a:t>
            </a:r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. </a:t>
            </a:r>
          </a:p>
          <a:p>
            <a:r>
              <a:rPr lang="ru-RU" sz="2400" b="1" dirty="0" smtClean="0">
                <a:solidFill>
                  <a:schemeClr val="bg1"/>
                </a:solidFill>
                <a:latin typeface="Times New Roman" pitchFamily="18" charset="0"/>
              </a:rPr>
              <a:t>(0,4%)</a:t>
            </a:r>
          </a:p>
          <a:p>
            <a:endParaRPr lang="ru-RU" sz="2400" b="1" dirty="0">
              <a:solidFill>
                <a:schemeClr val="bg1"/>
              </a:solidFill>
              <a:latin typeface="Times New Roman" pitchFamily="18" charset="0"/>
            </a:endParaRPr>
          </a:p>
          <a:p>
            <a:endParaRPr lang="ru-RU" sz="2400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6429375" y="2214563"/>
            <a:ext cx="215900" cy="203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6429375" y="3143250"/>
            <a:ext cx="214313" cy="214313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sz="2400" dirty="0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8" name="Text Box 11"/>
          <p:cNvSpPr txBox="1">
            <a:spLocks noChangeArrowheads="1"/>
          </p:cNvSpPr>
          <p:nvPr/>
        </p:nvSpPr>
        <p:spPr bwMode="auto">
          <a:xfrm>
            <a:off x="6772820" y="1992997"/>
            <a:ext cx="1975644" cy="646331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dirty="0" smtClean="0">
                <a:latin typeface="Times New Roman" pitchFamily="18" charset="0"/>
              </a:rPr>
              <a:t>Программная часть </a:t>
            </a:r>
            <a:endParaRPr lang="ru-RU" b="1" dirty="0">
              <a:latin typeface="Times New Roman" pitchFamily="18" charset="0"/>
            </a:endParaRP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6745335" y="2928237"/>
            <a:ext cx="2003129" cy="646331"/>
          </a:xfrm>
          <a:prstGeom prst="rect">
            <a:avLst/>
          </a:prstGeom>
          <a:ln/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ru-RU" b="1" dirty="0" smtClean="0">
                <a:latin typeface="Times New Roman" pitchFamily="18" charset="0"/>
              </a:rPr>
              <a:t>Непрограммная часть</a:t>
            </a:r>
            <a:endParaRPr lang="ru-RU" b="1" dirty="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756966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061"/>
            <a:ext cx="8229600" cy="797983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рограммные» расходы местного бюджета </a:t>
            </a:r>
            <a:b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1"/>
          <p:cNvSpPr txBox="1"/>
          <p:nvPr/>
        </p:nvSpPr>
        <p:spPr>
          <a:xfrm>
            <a:off x="8172400" y="99556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395536" y="1447372"/>
            <a:ext cx="5760640" cy="36004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"Развитие образования и молодежной политики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379271" y="4087522"/>
            <a:ext cx="5800727" cy="3246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культуры, туризма и спорта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379271" y="4637371"/>
            <a:ext cx="5799157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правление финансами и имуществом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390856" y="2396415"/>
            <a:ext cx="5789142" cy="72095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муниципального образования и повышение открытости администрации Георгиевского городского округа Ставропольского края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379271" y="5208490"/>
            <a:ext cx="5799157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"Развитие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льского </a:t>
            </a:r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зяйства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379271" y="5701624"/>
            <a:ext cx="5799157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ормирование современной городской среды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390856" y="1981342"/>
            <a:ext cx="5789142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Социальная поддержка граждан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Прямоугольник 23"/>
          <p:cNvSpPr/>
          <p:nvPr/>
        </p:nvSpPr>
        <p:spPr bwMode="auto">
          <a:xfrm>
            <a:off x="379271" y="3189477"/>
            <a:ext cx="5800727" cy="769523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 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звитие жилищно-коммунального и дорожного хозяйства, благоустройство Георгиевского городского округа Ставропольского края"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390856" y="6316200"/>
            <a:ext cx="5787571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ТОГО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7725374" y="1408266"/>
            <a:ext cx="1105500" cy="39254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455,68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7740622" y="4079277"/>
            <a:ext cx="1114074" cy="32468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40,78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7734135" y="4626533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6,58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7749196" y="2484927"/>
            <a:ext cx="1105498" cy="51490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44,70</a:t>
            </a: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7734728" y="5174308"/>
            <a:ext cx="1108060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42,47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7727495" y="5660145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,16</a:t>
            </a:r>
          </a:p>
        </p:txBody>
      </p:sp>
      <p:sp>
        <p:nvSpPr>
          <p:cNvPr id="34" name="Прямоугольник 33"/>
          <p:cNvSpPr/>
          <p:nvPr/>
        </p:nvSpPr>
        <p:spPr bwMode="auto">
          <a:xfrm>
            <a:off x="7725523" y="1922582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822,18</a:t>
            </a: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7749198" y="3382494"/>
            <a:ext cx="1105498" cy="39552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90,07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/>
          <p:cNvSpPr/>
          <p:nvPr/>
        </p:nvSpPr>
        <p:spPr bwMode="auto">
          <a:xfrm>
            <a:off x="7749198" y="6306582"/>
            <a:ext cx="1105498" cy="3240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085,62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право 2"/>
          <p:cNvSpPr/>
          <p:nvPr/>
        </p:nvSpPr>
        <p:spPr bwMode="auto">
          <a:xfrm>
            <a:off x="6516216" y="1359096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47,2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Стрелка вправо 36"/>
          <p:cNvSpPr/>
          <p:nvPr/>
        </p:nvSpPr>
        <p:spPr bwMode="auto">
          <a:xfrm>
            <a:off x="6540038" y="4007921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4,6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Стрелка вправо 37"/>
          <p:cNvSpPr/>
          <p:nvPr/>
        </p:nvSpPr>
        <p:spPr bwMode="auto">
          <a:xfrm>
            <a:off x="6543172" y="4547013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,8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Стрелка вправо 38"/>
          <p:cNvSpPr/>
          <p:nvPr/>
        </p:nvSpPr>
        <p:spPr bwMode="auto">
          <a:xfrm>
            <a:off x="6553947" y="2523193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7,9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трелка вправо 39"/>
          <p:cNvSpPr/>
          <p:nvPr/>
        </p:nvSpPr>
        <p:spPr bwMode="auto">
          <a:xfrm>
            <a:off x="6553947" y="5102626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,4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Стрелка вправо 40"/>
          <p:cNvSpPr/>
          <p:nvPr/>
        </p:nvSpPr>
        <p:spPr bwMode="auto">
          <a:xfrm>
            <a:off x="6553947" y="5588463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0,1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4" name="Стрелка вправо 43"/>
          <p:cNvSpPr/>
          <p:nvPr/>
        </p:nvSpPr>
        <p:spPr bwMode="auto">
          <a:xfrm>
            <a:off x="6522221" y="1877801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6,6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Стрелка вправо 44"/>
          <p:cNvSpPr/>
          <p:nvPr/>
        </p:nvSpPr>
        <p:spPr bwMode="auto">
          <a:xfrm>
            <a:off x="6553947" y="3340538"/>
            <a:ext cx="864096" cy="467400"/>
          </a:xfrm>
          <a:prstGeom prst="rightArrow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6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9,4</a:t>
            </a:r>
            <a:r>
              <a:rPr lang="ru-RU" sz="16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endParaRPr kumimoji="0" lang="ru-RU" sz="16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0679516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образования и молодежной политики»</a:t>
            </a:r>
            <a:endParaRPr lang="ru-RU" sz="2400" dirty="0">
              <a:solidFill>
                <a:schemeClr val="bg1"/>
              </a:solidFill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268379716"/>
              </p:ext>
            </p:extLst>
          </p:nvPr>
        </p:nvGraphicFramePr>
        <p:xfrm>
          <a:off x="0" y="1412776"/>
          <a:ext cx="9144000" cy="5445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</p:spTree>
    <p:extLst>
      <p:ext uri="{BB962C8B-B14F-4D97-AF65-F5344CB8AC3E}">
        <p14:creationId xmlns="" xmlns:p14="http://schemas.microsoft.com/office/powerpoint/2010/main" val="361415899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648072"/>
          </a:xfrm>
          <a:solidFill>
            <a:srgbClr val="E97C2B">
              <a:alpha val="70195"/>
            </a:srgbClr>
          </a:solidFill>
          <a:effectLst>
            <a:softEdge rad="0"/>
          </a:effectLst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характеристики бюджета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943552" y="908720"/>
            <a:ext cx="1084336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826741052"/>
              </p:ext>
            </p:extLst>
          </p:nvPr>
        </p:nvGraphicFramePr>
        <p:xfrm>
          <a:off x="0" y="1350060"/>
          <a:ext cx="9144000" cy="5507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9288059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программы «Развитие образования и молодежной политики» 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628799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дошкольного образования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2266242"/>
            <a:ext cx="5698976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общего образования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2903685"/>
            <a:ext cx="5698976" cy="52322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дополнительного образования и молодежной политики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5379" y="3541128"/>
            <a:ext cx="5698976" cy="954107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ддержка детей-сирот, детей, оставшихся без попечения родителей, меры социальной поддержки и иные выплаты гражданам в сфере образования Георгиевского городского округа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9778" y="4599549"/>
            <a:ext cx="5698976" cy="52322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дополнительного образования в сфере культуры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9778" y="5227083"/>
            <a:ext cx="5698976" cy="73866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Строительство и реконструкция объектов муниципальной собственности Георгиевского городского округа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36472" y="6084522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Обеспечение реализации муниципальной программы и общепрограммные мероприяти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58608" y="170574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39 910,9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72068" y="2343881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74 215,21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298201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3 118,78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67055" y="3833515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4 069,39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67055" y="467649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4 082,02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71278" y="541174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5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67055" y="616146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5 282,09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6654682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культуры, туризма и спорта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794291798"/>
              </p:ext>
            </p:extLst>
          </p:nvPr>
        </p:nvGraphicFramePr>
        <p:xfrm>
          <a:off x="0" y="1052736"/>
          <a:ext cx="9143999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298561906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Развитие культуры, туризма и спорта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988840"/>
            <a:ext cx="5698976" cy="70788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Культура и досуг в Георгиевском городском округе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0214" y="2849648"/>
            <a:ext cx="5698976" cy="1015663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физической культуры и спорта в Георгиевском городском округе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2399" y="3990939"/>
            <a:ext cx="5698976" cy="1015663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туристско-рекреационного комплекса Георгиевского городского округа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5529" y="5189596"/>
            <a:ext cx="5698976" cy="10156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общепрограммные мероприяти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41686" y="2142728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9 636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67055" y="315464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4 231,19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4298715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0,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67055" y="549737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859,2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7914776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жилищно-коммунального и дорожного хозяйства, благоустройство Георгиевского городского округа Ставропольского края»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7554394"/>
              </p:ext>
            </p:extLst>
          </p:nvPr>
        </p:nvGraphicFramePr>
        <p:xfrm>
          <a:off x="0" y="1052736"/>
          <a:ext cx="9143999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8139150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0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Развитие жилищно-коммунального и дорожного хозяйства, благоустройство Георгиевского городского округа Ставропольского края</a:t>
            </a:r>
            <a:r>
              <a:rPr lang="ru-RU" sz="20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в 2018 году</a:t>
            </a:r>
            <a:endParaRPr lang="ru-RU" sz="20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628799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жилищного хозяйства Георгиевског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го округа Ставропольского края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2266242"/>
            <a:ext cx="5698976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мунального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озяйства Георгиевского городского округа Ставропольского края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1560" y="2903685"/>
            <a:ext cx="5698976" cy="73866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Энергосбережение и повышение энергетической эффективности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09778" y="3744387"/>
            <a:ext cx="5698976" cy="52322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лагоустройство Георгиевского городского округа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07259" y="4374878"/>
            <a:ext cx="5698976" cy="523220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Обеспечение жильем молодых семей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7259" y="5012321"/>
            <a:ext cx="5698976" cy="52322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Дорожное хозяйство в Георгиевском городском округе Ставропольского кра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7259" y="5649764"/>
            <a:ext cx="5698976" cy="52322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езопасность дорожного движения в </a:t>
            </a:r>
            <a:r>
              <a:rPr lang="ru-RU" sz="1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оргиевском городском округе Ставропольского края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58608" y="1689530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15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58608" y="232697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843,46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307296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58608" y="380594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6 279,93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967055" y="442457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974866" y="507387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7 046,27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67055" y="571131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00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07259" y="6280157"/>
            <a:ext cx="5698976" cy="523220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Обеспечение реализации муниципальной программы и </a:t>
            </a:r>
            <a:r>
              <a:rPr lang="ru-RU" sz="14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»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958608" y="6341712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9 748,88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0250679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сельского хозяйства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9203008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11262098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звитие сельского хозяйства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3568" y="2348880"/>
            <a:ext cx="5698976" cy="156966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растениеводства и животноводства в Георгиевском городском округе 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вропольского края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83568" y="4189148"/>
            <a:ext cx="5698976" cy="1200329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общепрограммные мероприятия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39063" y="2902877"/>
            <a:ext cx="1512168" cy="4616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 722,43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039063" y="4558479"/>
            <a:ext cx="1512168" cy="4616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 747,22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4891863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Социальная поддержка граждан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290335652"/>
              </p:ext>
            </p:extLst>
          </p:nvPr>
        </p:nvGraphicFramePr>
        <p:xfrm>
          <a:off x="0" y="1268760"/>
          <a:ext cx="9143999" cy="558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329136052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программы «Социальная поддержка граждан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988840"/>
            <a:ext cx="5698976" cy="1015663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Социальное обеспечение населения Георгиевского городского округа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0214" y="3157404"/>
            <a:ext cx="5698976" cy="707886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Доступная среда в Георгиевском городском округе Ставропольского края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20214" y="4018233"/>
            <a:ext cx="5698976" cy="70788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ддержка социально-ориентированных некоммерческих организаций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1283" y="4881820"/>
            <a:ext cx="5698976" cy="1015663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</a:t>
            </a:r>
            <a:r>
              <a:rPr lang="ru-RU" sz="20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67055" y="2291753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82 854,89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67055" y="3309228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 563,17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50923" y="4172121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5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67055" y="518959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7 312,17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2075017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Развитие муниципального образования и повышение открытости администрации Георгиевского городского округа Ставропольского края»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348190609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274626200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116632"/>
            <a:ext cx="8229600" cy="864096"/>
          </a:xfrm>
          <a:solidFill>
            <a:srgbClr val="E97C2B">
              <a:alpha val="70195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ценарные условия социально-экономического развития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481878244"/>
              </p:ext>
            </p:extLst>
          </p:nvPr>
        </p:nvGraphicFramePr>
        <p:xfrm>
          <a:off x="179512" y="1628800"/>
          <a:ext cx="8784976" cy="4652395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2520280"/>
                <a:gridCol w="1368152"/>
                <a:gridCol w="1944216"/>
                <a:gridCol w="1008112"/>
                <a:gridCol w="1008112"/>
                <a:gridCol w="936104"/>
              </a:tblGrid>
              <a:tr h="100437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казатель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 год (факт)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год (оценка) по факту </a:t>
                      </a:r>
                      <a:r>
                        <a:rPr lang="ru-RU" sz="24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</a:t>
                      </a:r>
                    </a:p>
                    <a:p>
                      <a:pPr algn="ctr" fontAlgn="ctr"/>
                      <a:r>
                        <a:rPr lang="ru-RU" sz="2400" b="1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1.07.2017 </a:t>
                      </a:r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)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ноз</a:t>
                      </a:r>
                      <a:endParaRPr lang="ru-RU" sz="2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189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год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 год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0 год</a:t>
                      </a:r>
                      <a:endParaRPr lang="ru-RU" sz="2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</a:tr>
              <a:tr h="1271758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екс </a:t>
                      </a:r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требительских цен, %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,0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4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2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0</a:t>
                      </a:r>
                      <a:endParaRPr lang="ru-RU" sz="2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</a:tr>
              <a:tr h="1004373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п роста фонда оплаты труда, %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,0</a:t>
                      </a:r>
                      <a:endParaRPr lang="ru-RU" sz="24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,5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5,8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3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,3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413" marR="6413" marT="6413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37697038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18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Развитие муниципального образования и повышение открытости администрации Георгиевского городского округа Ставропольского края</a:t>
            </a:r>
            <a:r>
              <a:rPr lang="ru-RU" sz="1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в 2018 году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896790"/>
            <a:ext cx="5698976" cy="1754326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вышение открытости деятельности администрации округа, снижение административных барьеров, повышение качества предоставления государственных и муниципальных услуг в Георгиевском городском округе Ставропольского края и противодействие коррупции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3797200"/>
            <a:ext cx="5698976" cy="646331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азвитие муниципального образования Георгиевский городской округ Ставропольского края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6217" y="4589615"/>
            <a:ext cx="5698976" cy="36933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езопасный округ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11560" y="5105031"/>
            <a:ext cx="5698976" cy="923330"/>
          </a:xfrm>
          <a:prstGeom prst="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общепрограммные мероприятия</a:t>
            </a:r>
            <a:r>
              <a:rPr lang="ru-RU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37602" y="2573898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8 800,29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48264" y="3920310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9 255,22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37602" y="457422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7 812,49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929454" y="5357826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48 833,8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584062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Управление финансами и имуществом»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538324281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99096394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правление финансами и имуществом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b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11560" y="1988840"/>
            <a:ext cx="5698976" cy="132343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Повышение сбалансированности и устойчивости бюджетной системы Георгиевского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го округа Ставропольского кра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8182" y="3429000"/>
            <a:ext cx="5698976" cy="1938992"/>
          </a:xfrm>
          <a:prstGeom prst="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Реализация муниципальной политики в области землеустройства, землепользования и управления имуществом, находящимся в муниципальной собственности Георгиевского 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ского округа Ставропольского кра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8182" y="5484713"/>
            <a:ext cx="5698976" cy="1015663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реализации муниципальной программы и </a:t>
            </a:r>
            <a:r>
              <a:rPr lang="ru-RU" sz="20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епрограммные</a:t>
            </a:r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оприятия</a:t>
            </a:r>
            <a:r>
              <a:rPr lang="ru-RU" sz="2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2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6967055" y="2450504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0,0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967055" y="4198441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 911,20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67055" y="5792489"/>
            <a:ext cx="151216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1 512,15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7431793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ходы местного </a:t>
            </a:r>
            <a:r>
              <a:rPr lang="ru-RU" sz="22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а </a:t>
            </a:r>
            <a:r>
              <a:rPr lang="ru-RU" sz="22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рамках муниципальной программы «Формирование современной городской среды»</a:t>
            </a:r>
            <a:endParaRPr lang="ru-RU" sz="22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052736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230955218"/>
              </p:ext>
            </p:extLst>
          </p:nvPr>
        </p:nvGraphicFramePr>
        <p:xfrm>
          <a:off x="0" y="1052736"/>
          <a:ext cx="9144000" cy="5805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228871545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8012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труктура расходов в рамках муниципальной </a:t>
            </a:r>
            <a:r>
              <a:rPr lang="ru-RU" sz="2400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раммы «Формирование современной городской среды» </a:t>
            </a:r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2018 году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8172400" y="1244597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83568" y="2420888"/>
            <a:ext cx="5698976" cy="2246769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«Благоустройство дворовых территорий и территорий общего пользования Георгиевского городского округа Ставропольского края»</a:t>
            </a:r>
            <a:endParaRPr lang="ru-RU" sz="28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20272" y="3313439"/>
            <a:ext cx="1512168" cy="46166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 157,90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1672188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640960" cy="144016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рисков несбалансированности бюджета Георгиевского городского округа в ходе его исполнения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431540" y="1844824"/>
            <a:ext cx="8280920" cy="7920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асчет доходов на основе «консервативного» прогноза развития экономики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431540" y="2751564"/>
            <a:ext cx="8280920" cy="79208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ами погашения</a:t>
            </a:r>
            <a:r>
              <a:rPr kumimoji="0" lang="ru-RU" sz="1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дефицита бюджета определены остатки на 01.01.2018 г.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31540" y="3658304"/>
            <a:ext cx="8280920" cy="79208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зможность получения средств от приватизации муниципальной собственности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431540" y="5483704"/>
            <a:ext cx="8280920" cy="792088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экономии бюджетных средств, полученной в ходе проведения конкурсных </a:t>
            </a:r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дур, </a:t>
            </a:r>
            <a:r>
              <a:rPr lang="ru-RU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лько через внесение изменений в решение о бюджете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431540" y="4576964"/>
            <a:ext cx="8280920" cy="792088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ервирование средств на реализацию указов Президента Российско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едерации, ликвидацию и предупреждение ЧС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 на непредвиденные расходы</a:t>
            </a:r>
          </a:p>
        </p:txBody>
      </p:sp>
    </p:spTree>
    <p:extLst>
      <p:ext uri="{BB962C8B-B14F-4D97-AF65-F5344CB8AC3E}">
        <p14:creationId xmlns="" xmlns:p14="http://schemas.microsoft.com/office/powerpoint/2010/main" val="27224487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7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75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75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8" grpId="0" animBg="1"/>
      <p:bldP spid="9" grpId="0" animBg="1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2780928"/>
            <a:ext cx="8147248" cy="1152128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1964917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67485" y="116632"/>
            <a:ext cx="822960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федерального и краевого законодательств, учтенные при формировании прогноза доходов 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991264" y="1552385"/>
            <a:ext cx="2736304" cy="115212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ДФЛ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5478389" y="1552385"/>
            <a:ext cx="2736304" cy="116370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ходы от уплаты акцизов на нефтепродукты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251520" y="3421110"/>
            <a:ext cx="1917829" cy="89243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ород - 20%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7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йон – 36%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оселения – 6%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2359416" y="3422163"/>
            <a:ext cx="1852544" cy="89138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круг</a:t>
            </a:r>
            <a:r>
              <a:rPr kumimoji="0" lang="ru-RU" sz="17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2%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4835433" y="3435820"/>
            <a:ext cx="1917829" cy="87772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/>
            <a:r>
              <a:rPr lang="ru-RU" sz="17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род </a:t>
            </a:r>
            <a:r>
              <a:rPr lang="ru-RU" sz="17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0,08176%</a:t>
            </a:r>
            <a:endParaRPr lang="ru-RU" sz="17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hangingPunct="0"/>
            <a:r>
              <a:rPr lang="ru-RU" sz="17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йон – </a:t>
            </a:r>
            <a:r>
              <a:rPr lang="ru-RU" sz="17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08296%</a:t>
            </a:r>
            <a:endParaRPr lang="ru-RU" sz="17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6953918" y="3418014"/>
            <a:ext cx="1843167" cy="89553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7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круг</a:t>
            </a:r>
            <a:r>
              <a:rPr kumimoji="0" lang="ru-RU" sz="1700" b="0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– 0,5375%</a:t>
            </a:r>
            <a:endParaRPr kumimoji="0" lang="ru-RU" sz="17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Правая фигурная скобка 10"/>
          <p:cNvSpPr/>
          <p:nvPr/>
        </p:nvSpPr>
        <p:spPr bwMode="auto">
          <a:xfrm rot="5400000">
            <a:off x="4391641" y="1372909"/>
            <a:ext cx="360717" cy="7848872"/>
          </a:xfrm>
          <a:prstGeom prst="rightBrace">
            <a:avLst/>
          </a:prstGeom>
          <a:ln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43811" y="4578815"/>
            <a:ext cx="4752528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т (снижение) к уровню 2017 года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991265" y="5462993"/>
            <a:ext cx="2736304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-45 809,7 тыс. руб.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5437225" y="5441396"/>
            <a:ext cx="2736304" cy="72008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6 198,7 </a:t>
            </a:r>
            <a:r>
              <a:rPr kumimoji="0" lang="ru-RU" sz="20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.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2721937" y="6357798"/>
            <a:ext cx="216024" cy="2160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5478389" y="6318117"/>
            <a:ext cx="216024" cy="216024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29053" y="6281144"/>
            <a:ext cx="1201991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7 год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794348" y="6241463"/>
            <a:ext cx="1201991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8 год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627785" y="2835777"/>
            <a:ext cx="3767558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ы отчислений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4878457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29600" cy="864096"/>
          </a:xfrm>
          <a:solidFill>
            <a:srgbClr val="E97C2B">
              <a:alpha val="70195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роста доходов местного бюджета в 2017 – 2020 годах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39409" y="1120098"/>
            <a:ext cx="1084336" cy="36933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н. руб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514240773"/>
              </p:ext>
            </p:extLst>
          </p:nvPr>
        </p:nvGraphicFramePr>
        <p:xfrm>
          <a:off x="32068" y="1120098"/>
          <a:ext cx="9111932" cy="57379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226284570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29820"/>
            <a:ext cx="8229600" cy="562876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b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 безвозмездных поступлений</a:t>
            </a:r>
            <a:endParaRPr lang="ru-RU" sz="2800" b="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246268611"/>
              </p:ext>
            </p:extLst>
          </p:nvPr>
        </p:nvGraphicFramePr>
        <p:xfrm>
          <a:off x="0" y="692696"/>
          <a:ext cx="9144000" cy="6165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1"/>
          <p:cNvSpPr txBox="1"/>
          <p:nvPr/>
        </p:nvSpPr>
        <p:spPr>
          <a:xfrm>
            <a:off x="8100392" y="764704"/>
            <a:ext cx="842562" cy="336357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лн.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руб.</a:t>
            </a:r>
          </a:p>
        </p:txBody>
      </p:sp>
    </p:spTree>
    <p:extLst>
      <p:ext uri="{BB962C8B-B14F-4D97-AF65-F5344CB8AC3E}">
        <p14:creationId xmlns="" xmlns:p14="http://schemas.microsoft.com/office/powerpoint/2010/main" val="330274421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1560" y="116632"/>
            <a:ext cx="8229600" cy="936104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b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2800" b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жбюджетные трансферты, передаваемые </a:t>
            </a:r>
            <a:r>
              <a:rPr lang="ru-RU" sz="2800" b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му бюджету </a:t>
            </a:r>
            <a:r>
              <a:rPr lang="ru-RU" sz="2800" b="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8 </a:t>
            </a:r>
            <a:r>
              <a:rPr lang="ru-RU" sz="2800" b="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 </a:t>
            </a: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013529079"/>
              </p:ext>
            </p:extLst>
          </p:nvPr>
        </p:nvGraphicFramePr>
        <p:xfrm>
          <a:off x="0" y="1844824"/>
          <a:ext cx="3757767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097449" y="2369113"/>
            <a:ext cx="2425279" cy="40011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овые направления: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609789" y="3145232"/>
            <a:ext cx="5400600" cy="94036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defRPr/>
            </a:pP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Возмещение части затрат на приобретение элитных семян – 1,7 млн. </a:t>
            </a:r>
            <a:r>
              <a:rPr lang="ru-RU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уб</a:t>
            </a: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3621253" y="4251376"/>
            <a:ext cx="5389136" cy="1134632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eaLnBrk="0" hangingPunct="0">
              <a:defRPr/>
            </a:pPr>
            <a:r>
              <a:rPr lang="ru-RU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ыплата грантов личным подсобным хозяйствам на закладку сада </a:t>
            </a:r>
            <a:r>
              <a:rPr lang="ru-RU" sz="20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уперинтенсивного</a:t>
            </a:r>
            <a:r>
              <a:rPr lang="ru-RU" sz="2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типа – 16,0 млн. </a:t>
            </a:r>
            <a:r>
              <a:rPr lang="ru-RU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уб.</a:t>
            </a:r>
          </a:p>
        </p:txBody>
      </p:sp>
    </p:spTree>
    <p:extLst>
      <p:ext uri="{BB962C8B-B14F-4D97-AF65-F5344CB8AC3E}">
        <p14:creationId xmlns="" xmlns:p14="http://schemas.microsoft.com/office/powerpoint/2010/main" val="318136896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>
            <a:alphaModFix amt="43000"/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8229600" cy="1143000"/>
          </a:xfrm>
          <a:solidFill>
            <a:srgbClr val="E97C2B">
              <a:alpha val="70000"/>
            </a:srgbClr>
          </a:solidFill>
        </p:spPr>
        <p:txBody>
          <a:bodyPr/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бственные доходы в общем объеме доходов бюджета на 2018 год</a:t>
            </a:r>
            <a:endParaRPr lang="ru-RU" sz="28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="" xmlns:p14="http://schemas.microsoft.com/office/powerpoint/2010/main" val="2479774322"/>
              </p:ext>
            </p:extLst>
          </p:nvPr>
        </p:nvGraphicFramePr>
        <p:xfrm>
          <a:off x="0" y="1009650"/>
          <a:ext cx="9144000" cy="5991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355460547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>
        <p14:ferris dir="l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NGCbz9sEyDQ.4K.9iuHQ"/>
</p:tagLst>
</file>

<file path=ppt/theme/theme1.xml><?xml version="1.0" encoding="utf-8"?>
<a:theme xmlns:a="http://schemas.openxmlformats.org/drawingml/2006/main" name="34_Business-Coins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4_Business-Coin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34_Business-Coin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5_Business-Coins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34_Business-Coin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34_Business-Coins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4_Business-Coins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4_Business-Coins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40000"/>
              <a:satMod val="155000"/>
            </a:schemeClr>
          </a:gs>
          <a:gs pos="65000">
            <a:schemeClr val="phClr">
              <a:shade val="85000"/>
              <a:satMod val="155000"/>
            </a:schemeClr>
          </a:gs>
          <a:gs pos="100000">
            <a:schemeClr val="phClr">
              <a:shade val="95000"/>
              <a:satMod val="155000"/>
            </a:schemeClr>
          </a:gs>
        </a:gsLst>
        <a:lin ang="16200000" scaled="0"/>
      </a:gradFill>
    </a:fillStyleLst>
    <a:lnStyleLst>
      <a:ln w="6350" cap="rnd" cmpd="sng" algn="ctr">
        <a:solidFill>
          <a:schemeClr val="phClr">
            <a:shade val="95000"/>
            <a:satMod val="105000"/>
          </a:schemeClr>
        </a:solidFill>
        <a:prstDash val="solid"/>
      </a:ln>
      <a:ln w="25400" cap="rnd" cmpd="sng" algn="ctr">
        <a:solidFill>
          <a:schemeClr val="phClr"/>
        </a:solidFill>
        <a:prstDash val="solid"/>
      </a:ln>
      <a:ln w="34925" cap="rnd" cmpd="sng" algn="ctr">
        <a:solidFill>
          <a:schemeClr val="phClr"/>
        </a:solidFill>
        <a:prstDash val="solid"/>
      </a:ln>
    </a:lnStyleLst>
    <a:effectStyleLst>
      <a:effectStyle>
        <a:effectLst>
          <a:outerShdw blurRad="50800" algn="tl" rotWithShape="0">
            <a:srgbClr val="000000">
              <a:alpha val="64000"/>
            </a:srgbClr>
          </a:outerShdw>
        </a:effectLst>
      </a:effectStyle>
      <a:effectStyle>
        <a:effectLst>
          <a:outerShdw blurRad="39000" dist="25400" dir="5400000">
            <a:srgbClr val="000000">
              <a:alpha val="35000"/>
            </a:srgbClr>
          </a:outerShdw>
        </a:effectLst>
      </a:effectStyle>
      <a:effectStyle>
        <a:effectLst>
          <a:outerShdw blurRad="39000" dist="25400" dir="5400000">
            <a:srgbClr val="000000">
              <a:alpha val="35000"/>
            </a:srgbClr>
          </a:outerShdw>
        </a:effectLst>
        <a:scene3d>
          <a:camera prst="orthographicFront" fov="0">
            <a:rot lat="0" lon="0" rev="0"/>
          </a:camera>
          <a:lightRig rig="threePt" dir="t">
            <a:rot lat="0" lon="0" rev="0"/>
          </a:lightRig>
        </a:scene3d>
        <a:sp3d prstMaterial="matte">
          <a:bevelT h="22225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shade val="50000"/>
              <a:satMod val="155000"/>
            </a:schemeClr>
          </a:gs>
          <a:gs pos="35000">
            <a:schemeClr val="phClr">
              <a:shade val="75000"/>
              <a:satMod val="155000"/>
            </a:schemeClr>
          </a:gs>
          <a:gs pos="100000">
            <a:schemeClr val="phClr">
              <a:tint val="80000"/>
              <a:satMod val="255000"/>
            </a:schemeClr>
          </a:gs>
        </a:gsLst>
        <a:lin ang="16200000" scaled="0"/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100000" t="100000" r="100000" b="10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058</TotalTime>
  <Words>2235</Words>
  <Application>Microsoft Office PowerPoint</Application>
  <PresentationFormat>Экран (4:3)</PresentationFormat>
  <Paragraphs>606</Paragraphs>
  <Slides>46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46</vt:i4>
      </vt:variant>
    </vt:vector>
  </HeadingPairs>
  <TitlesOfParts>
    <vt:vector size="48" baseType="lpstr">
      <vt:lpstr>34_Business-Coins</vt:lpstr>
      <vt:lpstr>35_Business-Coins</vt:lpstr>
      <vt:lpstr>бюджет ГЕОРГИЕВСКОГО городского округа СТАВРОПОЛЬСКОГО КРАЯ на 2018 год и плановый период 2019 и 2020 годов</vt:lpstr>
      <vt:lpstr>Задачи бюджетной политики на 2018 год и плановый период 2019 и 2020 годов</vt:lpstr>
      <vt:lpstr>Основные характеристики бюджета</vt:lpstr>
      <vt:lpstr>Сценарные условия социально-экономического развития</vt:lpstr>
      <vt:lpstr>Изменения федерального и краевого законодательств, учтенные при формировании прогноза доходов на 2018 год</vt:lpstr>
      <vt:lpstr>Динамика роста доходов местного бюджета в 2017 – 2020 годах</vt:lpstr>
      <vt:lpstr>Структура безвозмездных поступлений</vt:lpstr>
      <vt:lpstr>Межбюджетные трансферты, передаваемые местному бюджету в 2018 году </vt:lpstr>
      <vt:lpstr>Собственные доходы в общем объеме доходов бюджета на 2018 год</vt:lpstr>
      <vt:lpstr>Структура собственных доходов  местного бюджета</vt:lpstr>
      <vt:lpstr>Поступления в местный бюджет в 2018 году</vt:lpstr>
      <vt:lpstr>Структура поступлений неналоговых доходов местного бюджета в 2018 году</vt:lpstr>
      <vt:lpstr>Факторы влияющие на структуру расходов местного бюджета в 2018 году</vt:lpstr>
      <vt:lpstr>Повышение  оплаты  труда  отдельных  категорий  работников бюджетной  сферы  в  2018  году </vt:lpstr>
      <vt:lpstr>Минимальный размер оплаты труда</vt:lpstr>
      <vt:lpstr>Участие в государственных программах Ставропольского края</vt:lpstr>
      <vt:lpstr>Поддержка местных инициатив</vt:lpstr>
      <vt:lpstr>Расходы местного бюджета на решение приоритетных вопросов</vt:lpstr>
      <vt:lpstr>Структура изменений  муниципальных учреждений</vt:lpstr>
      <vt:lpstr>Расходы местного бюджета в 2017-2020 годах</vt:lpstr>
      <vt:lpstr>Доля социальных расходов  в местном бюджете в 2018 году</vt:lpstr>
      <vt:lpstr>Функциональная структура расходов</vt:lpstr>
      <vt:lpstr>Дорожное хозяйство</vt:lpstr>
      <vt:lpstr>Основные характеристики местного бюджета  на 2018 год</vt:lpstr>
      <vt:lpstr>Структура местного бюджета в 2018 году</vt:lpstr>
      <vt:lpstr>Основные показатели местного бюджета  на 2018 год и плановый период 2019 и 2020 годов</vt:lpstr>
      <vt:lpstr>Структура расходов местного бюджета  в 2018 году</vt:lpstr>
      <vt:lpstr>«Программные» расходы местного бюджета  на 2018 год</vt:lpstr>
      <vt:lpstr>Расходы местного бюджета в рамках муниципальной программы «Развитие образования и молодежной политики»</vt:lpstr>
      <vt:lpstr>Структура расходов в рамках муниципальной программы «Развитие образования и молодежной политики» в 2018 году</vt:lpstr>
      <vt:lpstr>Расходы местного бюджета в рамках муниципальной программы «Развитие культуры, туризма и спорта»</vt:lpstr>
      <vt:lpstr>Структура расходов в рамках муниципальной программы «Развитие культуры, туризма и спорта»  в 2018 году</vt:lpstr>
      <vt:lpstr>Расходы местного бюджета в рамках муниципальной программы «Развитие жилищно-коммунального и дорожного хозяйства, благоустройство Георгиевского городского округа Ставропольского края»</vt:lpstr>
      <vt:lpstr>Структура расходов в рамках муниципальной программы «Развитие жилищно-коммунального и дорожного хозяйства, благоустройство Георгиевского городского округа Ставропольского края» в 2018 году</vt:lpstr>
      <vt:lpstr>Расходы местного бюджета в рамках муниципальной программы «Развитие сельского хозяйства»</vt:lpstr>
      <vt:lpstr>Структура расходов в рамках муниципальной программы «Развитие сельского хозяйства»  в 2018 году</vt:lpstr>
      <vt:lpstr>Расходы местного бюджета в рамках муниципальной программы «Социальная поддержка граждан»</vt:lpstr>
      <vt:lpstr>Структура расходов в рамках муниципальной программы «Социальная поддержка граждан»  в 2018 году</vt:lpstr>
      <vt:lpstr>Расходы местного бюджета в рамках муниципальной программы «Развитие муниципального образования и повышение открытости администрации Георгиевского городского округа Ставропольского края»</vt:lpstr>
      <vt:lpstr>Структура расходов в рамках муниципальной программы «Развитие муниципального образования и повышение открытости администрации Георгиевского городского округа Ставропольского края» в 2018 году</vt:lpstr>
      <vt:lpstr>Расходы местного бюджета в рамках муниципальной программы «Управление финансами и имуществом»</vt:lpstr>
      <vt:lpstr>Структура расходов в рамках муниципальной программы «Управление финансами и имуществом»  в 2018 году</vt:lpstr>
      <vt:lpstr>Расходы местного бюджета в рамках муниципальной программы «Формирование современной городской среды»</vt:lpstr>
      <vt:lpstr>Структура расходов в рамках муниципальной программы «Формирование современной городской среды» в 2018 году</vt:lpstr>
      <vt:lpstr>Снижение рисков несбалансированности бюджета Георгиевского городского округа в ходе его исполнения</vt:lpstr>
      <vt:lpstr>Спасибо за внимание!</vt:lpstr>
    </vt:vector>
  </TitlesOfParts>
  <Company>Reanimator Extreme Edit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лог на имущество физических лиц</dc:title>
  <dc:creator>Admin</dc:creator>
  <cp:lastModifiedBy>Gorbunova</cp:lastModifiedBy>
  <cp:revision>978</cp:revision>
  <cp:lastPrinted>2017-12-06T10:22:14Z</cp:lastPrinted>
  <dcterms:created xsi:type="dcterms:W3CDTF">2011-05-18T15:38:07Z</dcterms:created>
  <dcterms:modified xsi:type="dcterms:W3CDTF">2018-01-15T06:24:23Z</dcterms:modified>
</cp:coreProperties>
</file>